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1.xml" ContentType="application/vnd.openxmlformats-officedocument.them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3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4.xml" ContentType="application/vnd.openxmlformats-officedocument.them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5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7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8.xml" ContentType="application/vnd.openxmlformats-officedocument.them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0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1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22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23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24.xml" ContentType="application/vnd.openxmlformats-officedocument.theme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25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26.xml" ContentType="application/vnd.openxmlformats-officedocument.them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27.xml" ContentType="application/vnd.openxmlformats-officedocument.them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28.xml" ContentType="application/vnd.openxmlformats-officedocument.them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9.xml" ContentType="application/vnd.openxmlformats-officedocument.them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0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31.xml" ContentType="application/vnd.openxmlformats-officedocument.theme+xml"/>
  <Override PartName="/ppt/tags/tag4.xml" ContentType="application/vnd.openxmlformats-officedocument.presentationml.tags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32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33.xml" ContentType="application/vnd.openxmlformats-officedocument.theme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34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35.xml" ContentType="application/vnd.openxmlformats-officedocument.theme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theme/theme36.xml" ContentType="application/vnd.openxmlformats-officedocument.theme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37.xml" ContentType="application/vnd.openxmlformats-officedocument.theme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38.xml" ContentType="application/vnd.openxmlformats-officedocument.theme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39.xml" ContentType="application/vnd.openxmlformats-officedocument.theme+xml"/>
  <Override PartName="/ppt/tags/tag5.xml" ContentType="application/vnd.openxmlformats-officedocument.presentationml.tags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heme/theme40.xml" ContentType="application/vnd.openxmlformats-officedocument.them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41.xml" ContentType="application/vnd.openxmlformats-officedocument.them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42.xml" ContentType="application/vnd.openxmlformats-officedocument.theme+xml"/>
  <Override PartName="/ppt/tags/tag6.xml" ContentType="application/vnd.openxmlformats-officedocument.presentationml.tags+xml"/>
  <Override PartName="/ppt/theme/theme43.xml" ContentType="application/vnd.openxmlformats-officedocument.theme+xml"/>
  <Override PartName="/ppt/theme/theme4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3.xml" ContentType="application/vnd.openxmlformats-officedocument.themeOverride+xml"/>
  <Override PartName="/ppt/charts/chart3.xml" ContentType="application/vnd.openxmlformats-officedocument.drawingml.chart+xml"/>
  <Override PartName="/ppt/theme/themeOverride24.xml" ContentType="application/vnd.openxmlformats-officedocument.themeOverride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6" r:id="rId1"/>
    <p:sldMasterId id="2147486680" r:id="rId2"/>
    <p:sldMasterId id="2147490250" r:id="rId3"/>
    <p:sldMasterId id="2147490382" r:id="rId4"/>
    <p:sldMasterId id="2147491138" r:id="rId5"/>
    <p:sldMasterId id="2147491269" r:id="rId6"/>
    <p:sldMasterId id="2147492706" r:id="rId7"/>
    <p:sldMasterId id="2147492718" r:id="rId8"/>
    <p:sldMasterId id="2147492861" r:id="rId9"/>
    <p:sldMasterId id="2147492876" r:id="rId10"/>
    <p:sldMasterId id="2147492912" r:id="rId11"/>
    <p:sldMasterId id="2147492960" r:id="rId12"/>
    <p:sldMasterId id="2147492977" r:id="rId13"/>
    <p:sldMasterId id="2147492991" r:id="rId14"/>
    <p:sldMasterId id="2147493000" r:id="rId15"/>
    <p:sldMasterId id="2147493013" r:id="rId16"/>
    <p:sldMasterId id="2147493028" r:id="rId17"/>
    <p:sldMasterId id="2147493045" r:id="rId18"/>
    <p:sldMasterId id="2147493052" r:id="rId19"/>
    <p:sldMasterId id="2147493075" r:id="rId20"/>
    <p:sldMasterId id="2147493083" r:id="rId21"/>
    <p:sldMasterId id="2147493100" r:id="rId22"/>
    <p:sldMasterId id="2147493114" r:id="rId23"/>
    <p:sldMasterId id="2147493127" r:id="rId24"/>
    <p:sldMasterId id="2147493139" r:id="rId25"/>
    <p:sldMasterId id="2147493152" r:id="rId26"/>
    <p:sldMasterId id="2147493159" r:id="rId27"/>
    <p:sldMasterId id="2147493184" r:id="rId28"/>
    <p:sldMasterId id="2147493194" r:id="rId29"/>
    <p:sldMasterId id="2147493201" r:id="rId30"/>
    <p:sldMasterId id="2147493214" r:id="rId31"/>
    <p:sldMasterId id="2147493266" r:id="rId32"/>
    <p:sldMasterId id="2147493280" r:id="rId33"/>
    <p:sldMasterId id="2147493312" r:id="rId34"/>
    <p:sldMasterId id="2147493325" r:id="rId35"/>
    <p:sldMasterId id="2147493337" r:id="rId36"/>
    <p:sldMasterId id="2147493357" r:id="rId37"/>
    <p:sldMasterId id="2147493376" r:id="rId38"/>
    <p:sldMasterId id="2147493388" r:id="rId39"/>
    <p:sldMasterId id="2147493412" r:id="rId40"/>
    <p:sldMasterId id="2147493420" r:id="rId41"/>
    <p:sldMasterId id="2147493430" r:id="rId42"/>
  </p:sldMasterIdLst>
  <p:notesMasterIdLst>
    <p:notesMasterId r:id="rId131"/>
  </p:notesMasterIdLst>
  <p:handoutMasterIdLst>
    <p:handoutMasterId r:id="rId132"/>
  </p:handoutMasterIdLst>
  <p:sldIdLst>
    <p:sldId id="652" r:id="rId43"/>
    <p:sldId id="2145707172" r:id="rId44"/>
    <p:sldId id="2145707173" r:id="rId45"/>
    <p:sldId id="1098" r:id="rId46"/>
    <p:sldId id="2147470348" r:id="rId47"/>
    <p:sldId id="2145706893" r:id="rId48"/>
    <p:sldId id="2420" r:id="rId49"/>
    <p:sldId id="3261" r:id="rId50"/>
    <p:sldId id="2145707175" r:id="rId51"/>
    <p:sldId id="2145707246" r:id="rId52"/>
    <p:sldId id="1097" r:id="rId53"/>
    <p:sldId id="1145" r:id="rId54"/>
    <p:sldId id="1637156433" r:id="rId55"/>
    <p:sldId id="1637156434" r:id="rId56"/>
    <p:sldId id="1637156166" r:id="rId57"/>
    <p:sldId id="2147470349" r:id="rId58"/>
    <p:sldId id="1287" r:id="rId59"/>
    <p:sldId id="1309" r:id="rId60"/>
    <p:sldId id="2145707009" r:id="rId61"/>
    <p:sldId id="1154" r:id="rId62"/>
    <p:sldId id="1288" r:id="rId63"/>
    <p:sldId id="1317" r:id="rId64"/>
    <p:sldId id="2145707168" r:id="rId65"/>
    <p:sldId id="2145707112" r:id="rId66"/>
    <p:sldId id="2145707113" r:id="rId67"/>
    <p:sldId id="2145707115" r:id="rId68"/>
    <p:sldId id="1637156356" r:id="rId69"/>
    <p:sldId id="2147470351" r:id="rId70"/>
    <p:sldId id="1637156336" r:id="rId71"/>
    <p:sldId id="2145707164" r:id="rId72"/>
    <p:sldId id="2145707153" r:id="rId73"/>
    <p:sldId id="1637156505" r:id="rId74"/>
    <p:sldId id="1637156361" r:id="rId75"/>
    <p:sldId id="1637156488" r:id="rId76"/>
    <p:sldId id="1637156380" r:id="rId77"/>
    <p:sldId id="1637156383" r:id="rId78"/>
    <p:sldId id="1637156409" r:id="rId79"/>
    <p:sldId id="2442" r:id="rId80"/>
    <p:sldId id="1637156416" r:id="rId81"/>
    <p:sldId id="1637156419" r:id="rId82"/>
    <p:sldId id="1637156422" r:id="rId83"/>
    <p:sldId id="1637156483" r:id="rId84"/>
    <p:sldId id="1637156439" r:id="rId85"/>
    <p:sldId id="1122" r:id="rId86"/>
    <p:sldId id="2351" r:id="rId87"/>
    <p:sldId id="2329" r:id="rId88"/>
    <p:sldId id="1159" r:id="rId89"/>
    <p:sldId id="1248" r:id="rId90"/>
    <p:sldId id="1125" r:id="rId91"/>
    <p:sldId id="1637156509" r:id="rId92"/>
    <p:sldId id="2145707170" r:id="rId93"/>
    <p:sldId id="1637156423" r:id="rId94"/>
    <p:sldId id="1117" r:id="rId95"/>
    <p:sldId id="2147470353" r:id="rId96"/>
    <p:sldId id="4034" r:id="rId97"/>
    <p:sldId id="2147470352" r:id="rId98"/>
    <p:sldId id="2145706886" r:id="rId99"/>
    <p:sldId id="1026" r:id="rId100"/>
    <p:sldId id="1157" r:id="rId101"/>
    <p:sldId id="1044" r:id="rId102"/>
    <p:sldId id="1095" r:id="rId103"/>
    <p:sldId id="1137" r:id="rId104"/>
    <p:sldId id="2145707245" r:id="rId105"/>
    <p:sldId id="2147470354" r:id="rId106"/>
    <p:sldId id="2318" r:id="rId107"/>
    <p:sldId id="1637156489" r:id="rId108"/>
    <p:sldId id="1637156437" r:id="rId109"/>
    <p:sldId id="1637156438" r:id="rId110"/>
    <p:sldId id="3373" r:id="rId111"/>
    <p:sldId id="451" r:id="rId112"/>
    <p:sldId id="4112" r:id="rId113"/>
    <p:sldId id="2147470355" r:id="rId114"/>
    <p:sldId id="1637156484" r:id="rId115"/>
    <p:sldId id="2145706877" r:id="rId116"/>
    <p:sldId id="2145707240" r:id="rId117"/>
    <p:sldId id="2145706920" r:id="rId118"/>
    <p:sldId id="2145707241" r:id="rId119"/>
    <p:sldId id="2145707242" r:id="rId120"/>
    <p:sldId id="2145707243" r:id="rId121"/>
    <p:sldId id="2145707244" r:id="rId122"/>
    <p:sldId id="2145706897" r:id="rId123"/>
    <p:sldId id="2145706923" r:id="rId124"/>
    <p:sldId id="2147470358" r:id="rId125"/>
    <p:sldId id="2147470356" r:id="rId126"/>
    <p:sldId id="2147470357" r:id="rId127"/>
    <p:sldId id="1219" r:id="rId128"/>
    <p:sldId id="1176" r:id="rId129"/>
    <p:sldId id="2425" r:id="rId130"/>
  </p:sldIdLst>
  <p:sldSz cx="9144000" cy="6858000" type="screen4x3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рина Хамошина" initials="МХ" lastIdx="2" clrIdx="0">
    <p:extLst>
      <p:ext uri="{19B8F6BF-5375-455C-9EA6-DF929625EA0E}">
        <p15:presenceInfo xmlns:p15="http://schemas.microsoft.com/office/powerpoint/2012/main" userId="4e1ac8f8126106e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FFFFFF"/>
    <a:srgbClr val="000099"/>
    <a:srgbClr val="0033CC"/>
    <a:srgbClr val="66FF33"/>
    <a:srgbClr val="FF6600"/>
    <a:srgbClr val="006600"/>
    <a:srgbClr val="85DFD0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0960" autoAdjust="0"/>
  </p:normalViewPr>
  <p:slideViewPr>
    <p:cSldViewPr>
      <p:cViewPr varScale="1">
        <p:scale>
          <a:sx n="47" d="100"/>
          <a:sy n="47" d="100"/>
        </p:scale>
        <p:origin x="976" y="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50839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38" d="100"/>
          <a:sy n="38" d="100"/>
        </p:scale>
        <p:origin x="2407" y="4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117" Type="http://schemas.openxmlformats.org/officeDocument/2006/relationships/slide" Target="slides/slide75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5.xml"/><Relationship Id="rId63" Type="http://schemas.openxmlformats.org/officeDocument/2006/relationships/slide" Target="slides/slide21.xml"/><Relationship Id="rId68" Type="http://schemas.openxmlformats.org/officeDocument/2006/relationships/slide" Target="slides/slide26.xml"/><Relationship Id="rId84" Type="http://schemas.openxmlformats.org/officeDocument/2006/relationships/slide" Target="slides/slide42.xml"/><Relationship Id="rId89" Type="http://schemas.openxmlformats.org/officeDocument/2006/relationships/slide" Target="slides/slide47.xml"/><Relationship Id="rId112" Type="http://schemas.openxmlformats.org/officeDocument/2006/relationships/slide" Target="slides/slide70.xml"/><Relationship Id="rId133" Type="http://schemas.openxmlformats.org/officeDocument/2006/relationships/commentAuthors" Target="commentAuthors.xml"/><Relationship Id="rId16" Type="http://schemas.openxmlformats.org/officeDocument/2006/relationships/slideMaster" Target="slideMasters/slideMaster16.xml"/><Relationship Id="rId107" Type="http://schemas.openxmlformats.org/officeDocument/2006/relationships/slide" Target="slides/slide65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" Target="slides/slide11.xml"/><Relationship Id="rId58" Type="http://schemas.openxmlformats.org/officeDocument/2006/relationships/slide" Target="slides/slide16.xml"/><Relationship Id="rId74" Type="http://schemas.openxmlformats.org/officeDocument/2006/relationships/slide" Target="slides/slide32.xml"/><Relationship Id="rId79" Type="http://schemas.openxmlformats.org/officeDocument/2006/relationships/slide" Target="slides/slide37.xml"/><Relationship Id="rId102" Type="http://schemas.openxmlformats.org/officeDocument/2006/relationships/slide" Target="slides/slide60.xml"/><Relationship Id="rId123" Type="http://schemas.openxmlformats.org/officeDocument/2006/relationships/slide" Target="slides/slide81.xml"/><Relationship Id="rId128" Type="http://schemas.openxmlformats.org/officeDocument/2006/relationships/slide" Target="slides/slide86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48.xml"/><Relationship Id="rId95" Type="http://schemas.openxmlformats.org/officeDocument/2006/relationships/slide" Target="slides/slide53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1.xml"/><Relationship Id="rId48" Type="http://schemas.openxmlformats.org/officeDocument/2006/relationships/slide" Target="slides/slide6.xml"/><Relationship Id="rId56" Type="http://schemas.openxmlformats.org/officeDocument/2006/relationships/slide" Target="slides/slide14.xml"/><Relationship Id="rId64" Type="http://schemas.openxmlformats.org/officeDocument/2006/relationships/slide" Target="slides/slide22.xml"/><Relationship Id="rId69" Type="http://schemas.openxmlformats.org/officeDocument/2006/relationships/slide" Target="slides/slide27.xml"/><Relationship Id="rId77" Type="http://schemas.openxmlformats.org/officeDocument/2006/relationships/slide" Target="slides/slide35.xml"/><Relationship Id="rId100" Type="http://schemas.openxmlformats.org/officeDocument/2006/relationships/slide" Target="slides/slide58.xml"/><Relationship Id="rId105" Type="http://schemas.openxmlformats.org/officeDocument/2006/relationships/slide" Target="slides/slide63.xml"/><Relationship Id="rId113" Type="http://schemas.openxmlformats.org/officeDocument/2006/relationships/slide" Target="slides/slide71.xml"/><Relationship Id="rId118" Type="http://schemas.openxmlformats.org/officeDocument/2006/relationships/slide" Target="slides/slide76.xml"/><Relationship Id="rId126" Type="http://schemas.openxmlformats.org/officeDocument/2006/relationships/slide" Target="slides/slide84.xml"/><Relationship Id="rId13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9.xml"/><Relationship Id="rId72" Type="http://schemas.openxmlformats.org/officeDocument/2006/relationships/slide" Target="slides/slide30.xml"/><Relationship Id="rId80" Type="http://schemas.openxmlformats.org/officeDocument/2006/relationships/slide" Target="slides/slide38.xml"/><Relationship Id="rId85" Type="http://schemas.openxmlformats.org/officeDocument/2006/relationships/slide" Target="slides/slide43.xml"/><Relationship Id="rId93" Type="http://schemas.openxmlformats.org/officeDocument/2006/relationships/slide" Target="slides/slide51.xml"/><Relationship Id="rId98" Type="http://schemas.openxmlformats.org/officeDocument/2006/relationships/slide" Target="slides/slide56.xml"/><Relationship Id="rId121" Type="http://schemas.openxmlformats.org/officeDocument/2006/relationships/slide" Target="slides/slide7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4.xml"/><Relationship Id="rId59" Type="http://schemas.openxmlformats.org/officeDocument/2006/relationships/slide" Target="slides/slide17.xml"/><Relationship Id="rId67" Type="http://schemas.openxmlformats.org/officeDocument/2006/relationships/slide" Target="slides/slide25.xml"/><Relationship Id="rId103" Type="http://schemas.openxmlformats.org/officeDocument/2006/relationships/slide" Target="slides/slide61.xml"/><Relationship Id="rId108" Type="http://schemas.openxmlformats.org/officeDocument/2006/relationships/slide" Target="slides/slide66.xml"/><Relationship Id="rId116" Type="http://schemas.openxmlformats.org/officeDocument/2006/relationships/slide" Target="slides/slide74.xml"/><Relationship Id="rId124" Type="http://schemas.openxmlformats.org/officeDocument/2006/relationships/slide" Target="slides/slide82.xml"/><Relationship Id="rId129" Type="http://schemas.openxmlformats.org/officeDocument/2006/relationships/slide" Target="slides/slide87.xml"/><Relationship Id="rId137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2.xml"/><Relationship Id="rId62" Type="http://schemas.openxmlformats.org/officeDocument/2006/relationships/slide" Target="slides/slide20.xml"/><Relationship Id="rId70" Type="http://schemas.openxmlformats.org/officeDocument/2006/relationships/slide" Target="slides/slide28.xml"/><Relationship Id="rId75" Type="http://schemas.openxmlformats.org/officeDocument/2006/relationships/slide" Target="slides/slide33.xml"/><Relationship Id="rId83" Type="http://schemas.openxmlformats.org/officeDocument/2006/relationships/slide" Target="slides/slide41.xml"/><Relationship Id="rId88" Type="http://schemas.openxmlformats.org/officeDocument/2006/relationships/slide" Target="slides/slide46.xml"/><Relationship Id="rId91" Type="http://schemas.openxmlformats.org/officeDocument/2006/relationships/slide" Target="slides/slide49.xml"/><Relationship Id="rId96" Type="http://schemas.openxmlformats.org/officeDocument/2006/relationships/slide" Target="slides/slide54.xml"/><Relationship Id="rId111" Type="http://schemas.openxmlformats.org/officeDocument/2006/relationships/slide" Target="slides/slide69.xml"/><Relationship Id="rId13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7.xml"/><Relationship Id="rId57" Type="http://schemas.openxmlformats.org/officeDocument/2006/relationships/slide" Target="slides/slide15.xml"/><Relationship Id="rId106" Type="http://schemas.openxmlformats.org/officeDocument/2006/relationships/slide" Target="slides/slide64.xml"/><Relationship Id="rId114" Type="http://schemas.openxmlformats.org/officeDocument/2006/relationships/slide" Target="slides/slide72.xml"/><Relationship Id="rId119" Type="http://schemas.openxmlformats.org/officeDocument/2006/relationships/slide" Target="slides/slide77.xml"/><Relationship Id="rId127" Type="http://schemas.openxmlformats.org/officeDocument/2006/relationships/slide" Target="slides/slide85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2.xml"/><Relationship Id="rId52" Type="http://schemas.openxmlformats.org/officeDocument/2006/relationships/slide" Target="slides/slide10.xml"/><Relationship Id="rId60" Type="http://schemas.openxmlformats.org/officeDocument/2006/relationships/slide" Target="slides/slide18.xml"/><Relationship Id="rId65" Type="http://schemas.openxmlformats.org/officeDocument/2006/relationships/slide" Target="slides/slide23.xml"/><Relationship Id="rId73" Type="http://schemas.openxmlformats.org/officeDocument/2006/relationships/slide" Target="slides/slide31.xml"/><Relationship Id="rId78" Type="http://schemas.openxmlformats.org/officeDocument/2006/relationships/slide" Target="slides/slide36.xml"/><Relationship Id="rId81" Type="http://schemas.openxmlformats.org/officeDocument/2006/relationships/slide" Target="slides/slide39.xml"/><Relationship Id="rId86" Type="http://schemas.openxmlformats.org/officeDocument/2006/relationships/slide" Target="slides/slide44.xml"/><Relationship Id="rId94" Type="http://schemas.openxmlformats.org/officeDocument/2006/relationships/slide" Target="slides/slide52.xml"/><Relationship Id="rId99" Type="http://schemas.openxmlformats.org/officeDocument/2006/relationships/slide" Target="slides/slide57.xml"/><Relationship Id="rId101" Type="http://schemas.openxmlformats.org/officeDocument/2006/relationships/slide" Target="slides/slide59.xml"/><Relationship Id="rId122" Type="http://schemas.openxmlformats.org/officeDocument/2006/relationships/slide" Target="slides/slide80.xml"/><Relationship Id="rId130" Type="http://schemas.openxmlformats.org/officeDocument/2006/relationships/slide" Target="slides/slide88.xml"/><Relationship Id="rId13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109" Type="http://schemas.openxmlformats.org/officeDocument/2006/relationships/slide" Target="slides/slide67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8.xml"/><Relationship Id="rId55" Type="http://schemas.openxmlformats.org/officeDocument/2006/relationships/slide" Target="slides/slide13.xml"/><Relationship Id="rId76" Type="http://schemas.openxmlformats.org/officeDocument/2006/relationships/slide" Target="slides/slide34.xml"/><Relationship Id="rId97" Type="http://schemas.openxmlformats.org/officeDocument/2006/relationships/slide" Target="slides/slide55.xml"/><Relationship Id="rId104" Type="http://schemas.openxmlformats.org/officeDocument/2006/relationships/slide" Target="slides/slide62.xml"/><Relationship Id="rId120" Type="http://schemas.openxmlformats.org/officeDocument/2006/relationships/slide" Target="slides/slide78.xml"/><Relationship Id="rId125" Type="http://schemas.openxmlformats.org/officeDocument/2006/relationships/slide" Target="slides/slide83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9.xml"/><Relationship Id="rId92" Type="http://schemas.openxmlformats.org/officeDocument/2006/relationships/slide" Target="slides/slide50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3.xml"/><Relationship Id="rId66" Type="http://schemas.openxmlformats.org/officeDocument/2006/relationships/slide" Target="slides/slide24.xml"/><Relationship Id="rId87" Type="http://schemas.openxmlformats.org/officeDocument/2006/relationships/slide" Target="slides/slide45.xml"/><Relationship Id="rId110" Type="http://schemas.openxmlformats.org/officeDocument/2006/relationships/slide" Target="slides/slide68.xml"/><Relationship Id="rId115" Type="http://schemas.openxmlformats.org/officeDocument/2006/relationships/slide" Target="slides/slide73.xml"/><Relationship Id="rId131" Type="http://schemas.openxmlformats.org/officeDocument/2006/relationships/notesMaster" Target="notesMasters/notesMaster1.xml"/><Relationship Id="rId136" Type="http://schemas.openxmlformats.org/officeDocument/2006/relationships/theme" Target="theme/theme1.xml"/><Relationship Id="rId61" Type="http://schemas.openxmlformats.org/officeDocument/2006/relationships/slide" Target="slides/slide19.xml"/><Relationship Id="rId82" Type="http://schemas.openxmlformats.org/officeDocument/2006/relationships/slide" Target="slides/slide40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&#1044;&#1080;&#1072;&#1075;&#1088;&#1072;&#1084;&#1084;&#1072;%20&#1074;%20Microsoft%20PowerPoint" TargetMode="External"/><Relationship Id="rId1" Type="http://schemas.openxmlformats.org/officeDocument/2006/relationships/themeOverride" Target="../theme/themeOverride23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YKozirenko\Desktop\&#1054;&#1090;&#1095;&#1077;&#1090;&#1099;%20&#1050;&#1086;&#1079;&#1099;&#1088;&#1077;&#1085;&#1082;&#1086;\&#1054;&#1090;&#1095;&#1077;&#1090;&#1099;%20&#1056;&#1052;&#1057;.xlsx" TargetMode="External"/><Relationship Id="rId1" Type="http://schemas.openxmlformats.org/officeDocument/2006/relationships/themeOverride" Target="../theme/themeOverride24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немия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4.700000000000003</c:v>
                </c:pt>
                <c:pt idx="1">
                  <c:v>32.6</c:v>
                </c:pt>
                <c:pt idx="2">
                  <c:v>36</c:v>
                </c:pt>
                <c:pt idx="3">
                  <c:v>35.5</c:v>
                </c:pt>
                <c:pt idx="4">
                  <c:v>35.4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0-30B7-4406-95CC-4274DD73D90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олезни ССС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0.4</c:v>
                </c:pt>
                <c:pt idx="1">
                  <c:v>8.3000000000000007</c:v>
                </c:pt>
                <c:pt idx="2">
                  <c:v>7.4</c:v>
                </c:pt>
                <c:pt idx="3">
                  <c:v>6.6</c:v>
                </c:pt>
                <c:pt idx="4">
                  <c:v>6.2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1-30B7-4406-95CC-4274DD73D90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ахарный диабет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0.4</c:v>
                </c:pt>
                <c:pt idx="1">
                  <c:v>2.2000000000000002</c:v>
                </c:pt>
                <c:pt idx="2">
                  <c:v>7.2</c:v>
                </c:pt>
                <c:pt idx="3">
                  <c:v>7.8</c:v>
                </c:pt>
                <c:pt idx="4">
                  <c:v>9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2-30B7-4406-95CC-4274DD73D90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отеки, протеинурия и гипертензия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1.1660779656254906E-2"/>
                  <c:y val="-2.75577019220081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C1-4B09-85C9-6E1E5D54E3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18.100000000000001</c:v>
                </c:pt>
                <c:pt idx="1">
                  <c:v>9.1999999999999993</c:v>
                </c:pt>
                <c:pt idx="2">
                  <c:v>8.1</c:v>
                </c:pt>
                <c:pt idx="3">
                  <c:v>7.6</c:v>
                </c:pt>
                <c:pt idx="4">
                  <c:v>2.2000000000000002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4-30B7-4406-95CC-4274DD73D90E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болезни и инфекции мочеполовых путей</c:v>
                </c:pt>
              </c:strCache>
            </c:strRef>
          </c:tx>
          <c:spPr>
            <a:solidFill>
              <a:srgbClr val="85DFD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F$2:$F$6</c:f>
              <c:numCache>
                <c:formatCode>General</c:formatCode>
                <c:ptCount val="5"/>
                <c:pt idx="0">
                  <c:v>19.2</c:v>
                </c:pt>
                <c:pt idx="1">
                  <c:v>16.600000000000001</c:v>
                </c:pt>
                <c:pt idx="2">
                  <c:v>16.899999999999999</c:v>
                </c:pt>
                <c:pt idx="3">
                  <c:v>16.3</c:v>
                </c:pt>
                <c:pt idx="4">
                  <c:v>15.8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7-30B7-4406-95CC-4274DD73D90E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венозные осложнения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5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Лист1!$G$2:$G$6</c:f>
              <c:numCache>
                <c:formatCode>General</c:formatCode>
                <c:ptCount val="5"/>
                <c:pt idx="0">
                  <c:v>4.5</c:v>
                </c:pt>
                <c:pt idx="1">
                  <c:v>5.2</c:v>
                </c:pt>
                <c:pt idx="2">
                  <c:v>6.5</c:v>
                </c:pt>
                <c:pt idx="3">
                  <c:v>6.1</c:v>
                </c:pt>
                <c:pt idx="4">
                  <c:v>6.4</c:v>
                </c:pt>
              </c:numCache>
            </c:numRef>
          </c:val>
          <c:shape val="cylinder"/>
          <c:extLst>
            <c:ext xmlns:c16="http://schemas.microsoft.com/office/drawing/2014/chart" uri="{C3380CC4-5D6E-409C-BE32-E72D297353CC}">
              <c16:uniqueId val="{00000008-30B7-4406-95CC-4274DD73D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shape val="box"/>
        <c:axId val="851792016"/>
        <c:axId val="851790376"/>
        <c:axId val="0"/>
      </c:bar3DChart>
      <c:catAx>
        <c:axId val="851792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1790376"/>
        <c:crosses val="autoZero"/>
        <c:auto val="1"/>
        <c:lblAlgn val="ctr"/>
        <c:lblOffset val="100"/>
        <c:noMultiLvlLbl val="0"/>
      </c:catAx>
      <c:valAx>
        <c:axId val="851790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1792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bg1"/>
          </a:solidFill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'[Диаграмма в Microsoft PowerPoint]Лист1'!$B$1</c:f>
              <c:strCache>
                <c:ptCount val="1"/>
                <c:pt idx="0">
                  <c:v>Ряд 1</c:v>
                </c:pt>
              </c:strCache>
            </c:strRef>
          </c:tx>
          <c:xVal>
            <c:numRef>
              <c:f>'[Диаграмма в Microsoft PowerPoint]Лист1'!$A$2:$A$11</c:f>
              <c:numCache>
                <c:formatCode>General</c:formatCode>
                <c:ptCount val="10"/>
                <c:pt idx="0">
                  <c:v>-15</c:v>
                </c:pt>
                <c:pt idx="1">
                  <c:v>0</c:v>
                </c:pt>
                <c:pt idx="2">
                  <c:v>15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'[Диаграмма в Microsoft PowerPoint]Лист1'!$B$2:$B$11</c:f>
              <c:numCache>
                <c:formatCode>General</c:formatCode>
                <c:ptCount val="10"/>
                <c:pt idx="0">
                  <c:v>5</c:v>
                </c:pt>
                <c:pt idx="1">
                  <c:v>5.2</c:v>
                </c:pt>
                <c:pt idx="2">
                  <c:v>6.1</c:v>
                </c:pt>
                <c:pt idx="3">
                  <c:v>8.3000000000000007</c:v>
                </c:pt>
                <c:pt idx="4">
                  <c:v>8.3000000000000007</c:v>
                </c:pt>
                <c:pt idx="5">
                  <c:v>7.5</c:v>
                </c:pt>
                <c:pt idx="6">
                  <c:v>6</c:v>
                </c:pt>
                <c:pt idx="7">
                  <c:v>5.4</c:v>
                </c:pt>
                <c:pt idx="8">
                  <c:v>4.8</c:v>
                </c:pt>
                <c:pt idx="9">
                  <c:v>3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746-4D1A-A892-AB87A6961AA0}"/>
            </c:ext>
          </c:extLst>
        </c:ser>
        <c:ser>
          <c:idx val="1"/>
          <c:order val="1"/>
          <c:tx>
            <c:strRef>
              <c:f>'[Диаграмма в Microsoft PowerPoint]Лист1'!$C$1</c:f>
              <c:strCache>
                <c:ptCount val="1"/>
                <c:pt idx="0">
                  <c:v>Ряд 2</c:v>
                </c:pt>
              </c:strCache>
            </c:strRef>
          </c:tx>
          <c:xVal>
            <c:numRef>
              <c:f>'[Диаграмма в Microsoft PowerPoint]Лист1'!$A$2:$A$11</c:f>
              <c:numCache>
                <c:formatCode>General</c:formatCode>
                <c:ptCount val="10"/>
                <c:pt idx="0">
                  <c:v>-15</c:v>
                </c:pt>
                <c:pt idx="1">
                  <c:v>0</c:v>
                </c:pt>
                <c:pt idx="2">
                  <c:v>15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'[Диаграмма в Microsoft PowerPoint]Лист1'!$C$2:$C$11</c:f>
              <c:numCache>
                <c:formatCode>General</c:formatCode>
                <c:ptCount val="10"/>
                <c:pt idx="0">
                  <c:v>5.6</c:v>
                </c:pt>
                <c:pt idx="1">
                  <c:v>6</c:v>
                </c:pt>
                <c:pt idx="2">
                  <c:v>7</c:v>
                </c:pt>
                <c:pt idx="3">
                  <c:v>9</c:v>
                </c:pt>
                <c:pt idx="4">
                  <c:v>9.3000000000000007</c:v>
                </c:pt>
                <c:pt idx="5">
                  <c:v>8.2000000000000011</c:v>
                </c:pt>
                <c:pt idx="6">
                  <c:v>7</c:v>
                </c:pt>
                <c:pt idx="7">
                  <c:v>6.4</c:v>
                </c:pt>
                <c:pt idx="8">
                  <c:v>5.8</c:v>
                </c:pt>
                <c:pt idx="9">
                  <c:v>4.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746-4D1A-A892-AB87A6961AA0}"/>
            </c:ext>
          </c:extLst>
        </c:ser>
        <c:ser>
          <c:idx val="2"/>
          <c:order val="2"/>
          <c:tx>
            <c:strRef>
              <c:f>'[Диаграмма в Microsoft PowerPoint]Лист1'!$D$1</c:f>
              <c:strCache>
                <c:ptCount val="1"/>
                <c:pt idx="0">
                  <c:v>Ряд 3</c:v>
                </c:pt>
              </c:strCache>
            </c:strRef>
          </c:tx>
          <c:xVal>
            <c:numRef>
              <c:f>'[Диаграмма в Microsoft PowerPoint]Лист1'!$A$2:$A$11</c:f>
              <c:numCache>
                <c:formatCode>General</c:formatCode>
                <c:ptCount val="10"/>
                <c:pt idx="0">
                  <c:v>-15</c:v>
                </c:pt>
                <c:pt idx="1">
                  <c:v>0</c:v>
                </c:pt>
                <c:pt idx="2">
                  <c:v>15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'[Диаграмма в Microsoft PowerPoint]Лист1'!$D$2:$D$11</c:f>
              <c:numCache>
                <c:formatCode>General</c:formatCode>
                <c:ptCount val="10"/>
                <c:pt idx="0">
                  <c:v>5.6</c:v>
                </c:pt>
                <c:pt idx="1">
                  <c:v>6</c:v>
                </c:pt>
                <c:pt idx="2">
                  <c:v>7</c:v>
                </c:pt>
                <c:pt idx="3">
                  <c:v>10</c:v>
                </c:pt>
                <c:pt idx="4">
                  <c:v>11</c:v>
                </c:pt>
                <c:pt idx="5">
                  <c:v>10</c:v>
                </c:pt>
                <c:pt idx="6">
                  <c:v>8</c:v>
                </c:pt>
                <c:pt idx="7">
                  <c:v>7.3</c:v>
                </c:pt>
                <c:pt idx="8">
                  <c:v>6.6</c:v>
                </c:pt>
                <c:pt idx="9">
                  <c:v>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3746-4D1A-A892-AB87A6961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859648"/>
        <c:axId val="118906880"/>
      </c:scatterChart>
      <c:valAx>
        <c:axId val="118859648"/>
        <c:scaling>
          <c:orientation val="minMax"/>
          <c:max val="180"/>
          <c:min val="-30"/>
        </c:scaling>
        <c:delete val="0"/>
        <c:axPos val="b"/>
        <c:numFmt formatCode="General" sourceLinked="1"/>
        <c:majorTickMark val="out"/>
        <c:minorTickMark val="none"/>
        <c:tickLblPos val="nextTo"/>
        <c:crossAx val="118906880"/>
        <c:crosses val="autoZero"/>
        <c:crossBetween val="midCat"/>
        <c:majorUnit val="30"/>
      </c:valAx>
      <c:valAx>
        <c:axId val="118906880"/>
        <c:scaling>
          <c:orientation val="minMax"/>
          <c:max val="15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8859648"/>
        <c:crossesAt val="-30"/>
        <c:crossBetween val="midCat"/>
        <c:majorUnit val="3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smoothMarker"/>
        <c:varyColors val="0"/>
        <c:ser>
          <c:idx val="0"/>
          <c:order val="0"/>
          <c:xVal>
            <c:numRef>
              <c:f>Лист2!$A$24:$A$33</c:f>
              <c:numCache>
                <c:formatCode>General</c:formatCode>
                <c:ptCount val="10"/>
                <c:pt idx="0">
                  <c:v>-25</c:v>
                </c:pt>
                <c:pt idx="1">
                  <c:v>0</c:v>
                </c:pt>
                <c:pt idx="2">
                  <c:v>10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Лист2!$B$24:$B$33</c:f>
              <c:numCache>
                <c:formatCode>General</c:formatCode>
                <c:ptCount val="10"/>
                <c:pt idx="0">
                  <c:v>100</c:v>
                </c:pt>
                <c:pt idx="1">
                  <c:v>100</c:v>
                </c:pt>
                <c:pt idx="2">
                  <c:v>200</c:v>
                </c:pt>
                <c:pt idx="3">
                  <c:v>400</c:v>
                </c:pt>
                <c:pt idx="4">
                  <c:v>500</c:v>
                </c:pt>
                <c:pt idx="5">
                  <c:v>450</c:v>
                </c:pt>
                <c:pt idx="6">
                  <c:v>400</c:v>
                </c:pt>
                <c:pt idx="7">
                  <c:v>300</c:v>
                </c:pt>
                <c:pt idx="8">
                  <c:v>200</c:v>
                </c:pt>
                <c:pt idx="9">
                  <c:v>8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5005-487F-A4B2-4E2C88ADEBB4}"/>
            </c:ext>
          </c:extLst>
        </c:ser>
        <c:ser>
          <c:idx val="1"/>
          <c:order val="1"/>
          <c:xVal>
            <c:numRef>
              <c:f>Лист2!$A$24:$A$33</c:f>
              <c:numCache>
                <c:formatCode>General</c:formatCode>
                <c:ptCount val="10"/>
                <c:pt idx="0">
                  <c:v>-25</c:v>
                </c:pt>
                <c:pt idx="1">
                  <c:v>0</c:v>
                </c:pt>
                <c:pt idx="2">
                  <c:v>10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Лист2!$C$24:$C$33</c:f>
              <c:numCache>
                <c:formatCode>General</c:formatCode>
                <c:ptCount val="10"/>
                <c:pt idx="0">
                  <c:v>150</c:v>
                </c:pt>
                <c:pt idx="1">
                  <c:v>150</c:v>
                </c:pt>
                <c:pt idx="2">
                  <c:v>350</c:v>
                </c:pt>
                <c:pt idx="3">
                  <c:v>580</c:v>
                </c:pt>
                <c:pt idx="4">
                  <c:v>620</c:v>
                </c:pt>
                <c:pt idx="5">
                  <c:v>600</c:v>
                </c:pt>
                <c:pt idx="6">
                  <c:v>430</c:v>
                </c:pt>
                <c:pt idx="7">
                  <c:v>380</c:v>
                </c:pt>
                <c:pt idx="8">
                  <c:v>220</c:v>
                </c:pt>
                <c:pt idx="9">
                  <c:v>1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5005-487F-A4B2-4E2C88ADEBB4}"/>
            </c:ext>
          </c:extLst>
        </c:ser>
        <c:ser>
          <c:idx val="2"/>
          <c:order val="2"/>
          <c:xVal>
            <c:numRef>
              <c:f>Лист2!$A$24:$A$33</c:f>
              <c:numCache>
                <c:formatCode>General</c:formatCode>
                <c:ptCount val="10"/>
                <c:pt idx="0">
                  <c:v>-25</c:v>
                </c:pt>
                <c:pt idx="1">
                  <c:v>0</c:v>
                </c:pt>
                <c:pt idx="2">
                  <c:v>10</c:v>
                </c:pt>
                <c:pt idx="3">
                  <c:v>30</c:v>
                </c:pt>
                <c:pt idx="4">
                  <c:v>45</c:v>
                </c:pt>
                <c:pt idx="5">
                  <c:v>60</c:v>
                </c:pt>
                <c:pt idx="6">
                  <c:v>90</c:v>
                </c:pt>
                <c:pt idx="7">
                  <c:v>120</c:v>
                </c:pt>
                <c:pt idx="8">
                  <c:v>150</c:v>
                </c:pt>
                <c:pt idx="9">
                  <c:v>180</c:v>
                </c:pt>
              </c:numCache>
            </c:numRef>
          </c:xVal>
          <c:yVal>
            <c:numRef>
              <c:f>Лист2!$D$24:$D$33</c:f>
              <c:numCache>
                <c:formatCode>General</c:formatCode>
                <c:ptCount val="10"/>
                <c:pt idx="0">
                  <c:v>150</c:v>
                </c:pt>
                <c:pt idx="1">
                  <c:v>150</c:v>
                </c:pt>
                <c:pt idx="2">
                  <c:v>470</c:v>
                </c:pt>
                <c:pt idx="3">
                  <c:v>820</c:v>
                </c:pt>
                <c:pt idx="4">
                  <c:v>1100</c:v>
                </c:pt>
                <c:pt idx="5">
                  <c:v>1050</c:v>
                </c:pt>
                <c:pt idx="6">
                  <c:v>850</c:v>
                </c:pt>
                <c:pt idx="7">
                  <c:v>800</c:v>
                </c:pt>
                <c:pt idx="8">
                  <c:v>500</c:v>
                </c:pt>
                <c:pt idx="9">
                  <c:v>2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5005-487F-A4B2-4E2C88ADEB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920320"/>
        <c:axId val="118931840"/>
      </c:scatterChart>
      <c:valAx>
        <c:axId val="118920320"/>
        <c:scaling>
          <c:orientation val="minMax"/>
          <c:max val="180"/>
          <c:min val="-30"/>
        </c:scaling>
        <c:delete val="0"/>
        <c:axPos val="b"/>
        <c:numFmt formatCode="General" sourceLinked="1"/>
        <c:majorTickMark val="out"/>
        <c:minorTickMark val="none"/>
        <c:tickLblPos val="nextTo"/>
        <c:crossAx val="118931840"/>
        <c:crosses val="autoZero"/>
        <c:crossBetween val="midCat"/>
        <c:majorUnit val="30"/>
      </c:valAx>
      <c:valAx>
        <c:axId val="1189318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8920320"/>
        <c:crossesAt val="-30"/>
        <c:crossBetween val="midCat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961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ru-RU"/>
              <a:t>Гормональный ответ на  упражнения </a:t>
            </a:r>
          </a:p>
        </c:rich>
      </c:tx>
      <c:layout>
        <c:manualLayout>
          <c:xMode val="edge"/>
          <c:yMode val="edge"/>
          <c:x val="0.20784729586426298"/>
          <c:y val="2.0338983050847456E-2"/>
        </c:manualLayout>
      </c:layout>
      <c:overlay val="0"/>
      <c:spPr>
        <a:noFill/>
        <a:ln w="23166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"/>
          <c:y val="0.13637514083032631"/>
          <c:w val="1"/>
          <c:h val="0.6644067796610169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Инсулин </c:v>
                </c:pt>
              </c:strCache>
            </c:strRef>
          </c:tx>
          <c:spPr>
            <a:ln w="34748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strRef>
              <c:f>Sheet1!$B$1:$H$1</c:f>
              <c:strCache>
                <c:ptCount val="5"/>
                <c:pt idx="0">
                  <c:v>Начало тренировки</c:v>
                </c:pt>
                <c:pt idx="1">
                  <c:v>15 мин</c:v>
                </c:pt>
                <c:pt idx="2">
                  <c:v>30 мин</c:v>
                </c:pt>
                <c:pt idx="3">
                  <c:v>45 мин</c:v>
                </c:pt>
                <c:pt idx="4">
                  <c:v>1 час</c:v>
                </c:pt>
              </c:strCache>
            </c:strRef>
          </c:cat>
          <c:val>
            <c:numRef>
              <c:f>Sheet1!$B$2:$H$2</c:f>
              <c:numCache>
                <c:formatCode>\О\с\н\о\в\н\о\й</c:formatCode>
                <c:ptCount val="7"/>
                <c:pt idx="0">
                  <c:v>5</c:v>
                </c:pt>
                <c:pt idx="1">
                  <c:v>4.5</c:v>
                </c:pt>
                <c:pt idx="2">
                  <c:v>2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B9F-4644-98C8-A223F178DA7D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Глюкоза крови</c:v>
                </c:pt>
              </c:strCache>
            </c:strRef>
          </c:tx>
          <c:spPr>
            <a:ln w="34748">
              <a:solidFill>
                <a:srgbClr val="00FF00"/>
              </a:solidFill>
              <a:prstDash val="solid"/>
            </a:ln>
          </c:spPr>
          <c:marker>
            <c:symbol val="none"/>
          </c:marker>
          <c:cat>
            <c:strRef>
              <c:f>Sheet1!$B$1:$H$1</c:f>
              <c:strCache>
                <c:ptCount val="5"/>
                <c:pt idx="0">
                  <c:v>Начало тренировки</c:v>
                </c:pt>
                <c:pt idx="1">
                  <c:v>15 мин</c:v>
                </c:pt>
                <c:pt idx="2">
                  <c:v>30 мин</c:v>
                </c:pt>
                <c:pt idx="3">
                  <c:v>45 мин</c:v>
                </c:pt>
                <c:pt idx="4">
                  <c:v>1 час</c:v>
                </c:pt>
              </c:strCache>
            </c:strRef>
          </c:cat>
          <c:val>
            <c:numRef>
              <c:f>Sheet1!$B$3:$H$3</c:f>
              <c:numCache>
                <c:formatCode>\О\с\н\о\в\н\о\й</c:formatCode>
                <c:ptCount val="7"/>
                <c:pt idx="0">
                  <c:v>2</c:v>
                </c:pt>
                <c:pt idx="1">
                  <c:v>0.6</c:v>
                </c:pt>
                <c:pt idx="2">
                  <c:v>1.4</c:v>
                </c:pt>
                <c:pt idx="3">
                  <c:v>2.8</c:v>
                </c:pt>
                <c:pt idx="4">
                  <c:v>1.7</c:v>
                </c:pt>
                <c:pt idx="5">
                  <c:v>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B9F-4644-98C8-A223F178DA7D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СТГ и тестостерон (аэробный)</c:v>
                </c:pt>
              </c:strCache>
            </c:strRef>
          </c:tx>
          <c:spPr>
            <a:ln w="34748">
              <a:solidFill>
                <a:srgbClr val="0000FF"/>
              </a:solidFill>
              <a:prstDash val="solid"/>
            </a:ln>
          </c:spPr>
          <c:marker>
            <c:symbol val="none"/>
          </c:marker>
          <c:cat>
            <c:strRef>
              <c:f>Sheet1!$B$1:$H$1</c:f>
              <c:strCache>
                <c:ptCount val="5"/>
                <c:pt idx="0">
                  <c:v>Начало тренировки</c:v>
                </c:pt>
                <c:pt idx="1">
                  <c:v>15 мин</c:v>
                </c:pt>
                <c:pt idx="2">
                  <c:v>30 мин</c:v>
                </c:pt>
                <c:pt idx="3">
                  <c:v>45 мин</c:v>
                </c:pt>
                <c:pt idx="4">
                  <c:v>1 час</c:v>
                </c:pt>
              </c:strCache>
            </c:strRef>
          </c:cat>
          <c:val>
            <c:numRef>
              <c:f>Sheet1!$B$4:$H$4</c:f>
              <c:numCache>
                <c:formatCode>\О\с\н\о\в\н\о\й</c:formatCode>
                <c:ptCount val="7"/>
                <c:pt idx="0">
                  <c:v>1.2</c:v>
                </c:pt>
                <c:pt idx="1">
                  <c:v>0.7</c:v>
                </c:pt>
                <c:pt idx="2">
                  <c:v>3</c:v>
                </c:pt>
                <c:pt idx="3">
                  <c:v>5.4</c:v>
                </c:pt>
                <c:pt idx="4">
                  <c:v>1.4</c:v>
                </c:pt>
                <c:pt idx="5">
                  <c:v>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FB9F-4644-98C8-A223F178DA7D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СТГ и тестостерон (анаэробный)</c:v>
                </c:pt>
              </c:strCache>
            </c:strRef>
          </c:tx>
          <c:spPr>
            <a:ln w="34748">
              <a:solidFill>
                <a:srgbClr val="FF00FF"/>
              </a:solidFill>
              <a:prstDash val="solid"/>
            </a:ln>
          </c:spPr>
          <c:marker>
            <c:symbol val="none"/>
          </c:marker>
          <c:cat>
            <c:strRef>
              <c:f>Sheet1!$B$1:$H$1</c:f>
              <c:strCache>
                <c:ptCount val="5"/>
                <c:pt idx="0">
                  <c:v>Начало тренировки</c:v>
                </c:pt>
                <c:pt idx="1">
                  <c:v>15 мин</c:v>
                </c:pt>
                <c:pt idx="2">
                  <c:v>30 мин</c:v>
                </c:pt>
                <c:pt idx="3">
                  <c:v>45 мин</c:v>
                </c:pt>
                <c:pt idx="4">
                  <c:v>1 час</c:v>
                </c:pt>
              </c:strCache>
            </c:strRef>
          </c:cat>
          <c:val>
            <c:numRef>
              <c:f>Sheet1!$B$5:$H$5</c:f>
              <c:numCache>
                <c:formatCode>\О\с\н\о\в\н\о\й</c:formatCode>
                <c:ptCount val="7"/>
                <c:pt idx="0">
                  <c:v>1.5</c:v>
                </c:pt>
                <c:pt idx="1">
                  <c:v>1.5</c:v>
                </c:pt>
                <c:pt idx="2">
                  <c:v>4.8</c:v>
                </c:pt>
                <c:pt idx="3">
                  <c:v>7</c:v>
                </c:pt>
                <c:pt idx="4">
                  <c:v>3.5</c:v>
                </c:pt>
                <c:pt idx="5">
                  <c:v>0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FB9F-4644-98C8-A223F178DA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375920"/>
        <c:axId val="1"/>
      </c:lineChart>
      <c:catAx>
        <c:axId val="8637592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642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/>
                  <a:t>Время</a:t>
                </a:r>
              </a:p>
            </c:rich>
          </c:tx>
          <c:layout>
            <c:manualLayout>
              <c:xMode val="edge"/>
              <c:yMode val="edge"/>
              <c:x val="0.45387062566277836"/>
              <c:y val="0.90508474576271192"/>
            </c:manualLayout>
          </c:layout>
          <c:overlay val="0"/>
          <c:spPr>
            <a:noFill/>
            <a:ln w="23166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289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77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1"/>
        <c:axPos val="l"/>
        <c:numFmt formatCode="\О\с\н\о\в\н\о\й" sourceLinked="1"/>
        <c:majorTickMark val="out"/>
        <c:minorTickMark val="none"/>
        <c:tickLblPos val="nextTo"/>
        <c:crossAx val="86375920"/>
        <c:crosses val="autoZero"/>
        <c:crossBetween val="between"/>
      </c:valAx>
      <c:spPr>
        <a:noFill/>
        <a:ln w="2896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67652238929356368"/>
          <c:y val="0.22457451156498731"/>
          <c:w val="0.28844114528101805"/>
          <c:h val="0.37627118644067797"/>
        </c:manualLayout>
      </c:layout>
      <c:overlay val="0"/>
      <c:spPr>
        <a:noFill/>
        <a:ln w="2896">
          <a:solidFill>
            <a:schemeClr val="tx1"/>
          </a:solidFill>
          <a:prstDash val="solid"/>
        </a:ln>
      </c:spPr>
      <c:txPr>
        <a:bodyPr/>
        <a:lstStyle/>
        <a:p>
          <a:pPr>
            <a:defRPr sz="1509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59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195015B1-4AD4-43DB-A767-D2D0A9C701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DD412C6-9B18-4D9E-9187-3B3C9B748D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642D39-4D4C-411D-9817-05705454FD5D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1F49A87-8BB1-4964-B6E1-C831E0F317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95017F4-5D71-4612-8EB4-3DBD264EE95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80676-4FB1-4310-8375-C21F83AFBF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6407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>
            <a:extLst>
              <a:ext uri="{FF2B5EF4-FFF2-40B4-BE49-F238E27FC236}">
                <a16:creationId xmlns:a16="http://schemas.microsoft.com/office/drawing/2014/main" id="{2AFC36F3-AE49-41D6-A712-121C16BA6F2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39" name="Rectangle 3">
            <a:extLst>
              <a:ext uri="{FF2B5EF4-FFF2-40B4-BE49-F238E27FC236}">
                <a16:creationId xmlns:a16="http://schemas.microsoft.com/office/drawing/2014/main" id="{F4A5A0A8-CD63-48F9-AFD3-7BCAE8D4FEA3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85700" name="Rectangle 4">
            <a:extLst>
              <a:ext uri="{FF2B5EF4-FFF2-40B4-BE49-F238E27FC236}">
                <a16:creationId xmlns:a16="http://schemas.microsoft.com/office/drawing/2014/main" id="{14D8789A-B18E-456F-9422-14C6D2367C90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41" name="Rectangle 5">
            <a:extLst>
              <a:ext uri="{FF2B5EF4-FFF2-40B4-BE49-F238E27FC236}">
                <a16:creationId xmlns:a16="http://schemas.microsoft.com/office/drawing/2014/main" id="{86CCB7C5-A8E8-4178-9432-97AA8094DFB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39942" name="Rectangle 6">
            <a:extLst>
              <a:ext uri="{FF2B5EF4-FFF2-40B4-BE49-F238E27FC236}">
                <a16:creationId xmlns:a16="http://schemas.microsoft.com/office/drawing/2014/main" id="{7EF9935B-739D-4DD2-A3E9-C1D89A02B5D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43" name="Rectangle 7">
            <a:extLst>
              <a:ext uri="{FF2B5EF4-FFF2-40B4-BE49-F238E27FC236}">
                <a16:creationId xmlns:a16="http://schemas.microsoft.com/office/drawing/2014/main" id="{F6A2495B-A538-4608-9032-FD360A7310F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855EC29-2CF2-4722-9B68-8BA6AD1B292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6CC8A8-0DDF-4464-B13D-FB8FC46C63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0186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130" name="Rectangle 7">
            <a:extLst>
              <a:ext uri="{FF2B5EF4-FFF2-40B4-BE49-F238E27FC236}">
                <a16:creationId xmlns:a16="http://schemas.microsoft.com/office/drawing/2014/main" id="{08A08DAD-E081-4D09-9BF9-28B79DDE2EE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DCB746-7E43-4EE8-B82F-D2FBFADB09F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4131" name="Rectangle 2">
            <a:extLst>
              <a:ext uri="{FF2B5EF4-FFF2-40B4-BE49-F238E27FC236}">
                <a16:creationId xmlns:a16="http://schemas.microsoft.com/office/drawing/2014/main" id="{A6DA7482-0EA7-43D0-9723-80C51C8455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6200" y="0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304132" name="Rectangle 3">
            <a:extLst>
              <a:ext uri="{FF2B5EF4-FFF2-40B4-BE49-F238E27FC236}">
                <a16:creationId xmlns:a16="http://schemas.microsoft.com/office/drawing/2014/main" id="{B398E38C-B2D1-41DC-A8C1-06BB45EA7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304133" name="Rectangle 4">
            <a:extLst>
              <a:ext uri="{FF2B5EF4-FFF2-40B4-BE49-F238E27FC236}">
                <a16:creationId xmlns:a16="http://schemas.microsoft.com/office/drawing/2014/main" id="{D92A016B-AF73-4FAF-8DB1-356FBBD04A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304134" name="Rectangle 5">
            <a:extLst>
              <a:ext uri="{FF2B5EF4-FFF2-40B4-BE49-F238E27FC236}">
                <a16:creationId xmlns:a16="http://schemas.microsoft.com/office/drawing/2014/main" id="{451B0296-6F1C-48F4-B567-87DA8BF7461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4113" y="682625"/>
            <a:ext cx="4549775" cy="3411538"/>
          </a:xfrm>
          <a:ln cap="flat">
            <a:solidFill>
              <a:schemeClr val="tx1"/>
            </a:solidFill>
          </a:ln>
        </p:spPr>
      </p:sp>
      <p:sp>
        <p:nvSpPr>
          <p:cNvPr id="304135" name="Text Box 6">
            <a:extLst>
              <a:ext uri="{FF2B5EF4-FFF2-40B4-BE49-F238E27FC236}">
                <a16:creationId xmlns:a16="http://schemas.microsoft.com/office/drawing/2014/main" id="{CC30D521-86C2-4B2B-BF8C-18E23FCFB4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275" y="4284663"/>
            <a:ext cx="5832475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indent="1778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На этом слайде демонстрируется величина гликемического и инсулинемического ответа после приема 75 г глюкозы (пероральный тест на толерантность к глюкозе; ПТТГ) в подгруппах лиц с одинаковым общим содержанием жировой ткани в организме, однако разным (малым или большим) относительным объемом висцеральной жировой ткани (ЖТ).</a:t>
            </a:r>
          </a:p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При сравнении больных с ожирением с высоким % висцеральной жировой ткани, попарно подобранных больных с ожирением с низким % висцеральной ЖТ с подгруппой контрольных лиц без ожирения, каких-либо достоверных отличий стимулированных уровней глюкозы и инсулина в плазме в ответ на прием глюкозы установлено не было.  </a:t>
            </a:r>
          </a:p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Однако у больных с ожирением и высоким % висцеральной ЖТ наблюдался достоверно более выраженный гликемический ответ в сочетании со значительной гиперинсулинемией. Таким образом, несмотря на тот факт, что степень ожирения у таких больных была не более выраженной, чем у больных другой подгруппы (с малым % висцеральной ЖТ), более высокий % висцеральной ЖТ является прогностически неблагоприятным признаком в отношении ухудшения толерантности к глюкозе и наличия выраженной гиперинсулинемии, что свидетельствует о развитии состояния резистентности к инсулину.</a:t>
            </a:r>
          </a:p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В этой связи ожирение по висцеральному (абдоминальному) типу – это фенотип, связанный с наиболее тяжелыми нарушениями показателей гомеостаза глюкозы и инсулина в плазме.</a:t>
            </a:r>
          </a:p>
        </p:txBody>
      </p:sp>
      <p:sp>
        <p:nvSpPr>
          <p:cNvPr id="2" name="Заметки 1">
            <a:extLst>
              <a:ext uri="{FF2B5EF4-FFF2-40B4-BE49-F238E27FC236}">
                <a16:creationId xmlns:a16="http://schemas.microsoft.com/office/drawing/2014/main" id="{739C8F46-DFC0-4EA3-859E-7D530F36A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altLang="ru-RU" i="1" dirty="0">
                <a:solidFill>
                  <a:srgbClr val="002060"/>
                </a:solidFill>
              </a:rPr>
              <a:t>Pouliot </a:t>
            </a:r>
            <a:r>
              <a:rPr lang="ru-RU" altLang="ru-RU" i="1" dirty="0">
                <a:solidFill>
                  <a:srgbClr val="002060"/>
                </a:solidFill>
              </a:rPr>
              <a:t> с коллегами показал, что в группе пациентов, страдающих ожирением </a:t>
            </a:r>
            <a:r>
              <a:rPr lang="ru-RU" i="1" dirty="0">
                <a:latin typeface="+mn-lt"/>
              </a:rPr>
              <a:t>с высоким уровнем висцерального жира, концентрация инсулина в плазме крови и глюкозы были значительно выше при проведении теста толерантности к глюкозе.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</a:rPr>
              <a:t>ИР не возникает спонтанно, по современным представлениям, инициирующим моментом как ИР, так и всего метаболического каскада чаще всего служит ожирение (висцеральное), которое предрасполагает к развитию АГ и способно вызывать снижение чувствительности периферических тканей к инсулину и последующее накопление избыточной массы тела.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1685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530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52450" y="611188"/>
            <a:ext cx="2447925" cy="18367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it-IT" dirty="0">
              <a:latin typeface="Times New Roman" pitchFamily="1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3379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rtlCol="0"/>
          <a:lstStyle/>
          <a:p>
            <a:pPr marL="0" marR="0" lvl="0" indent="0" algn="r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D3B421-6CDC-E14E-92EF-30BB507DC6AD}" type="slidenum">
              <a:rPr kumimoji="0" lang="it-IT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 pitchFamily="1" charset="0"/>
                <a:cs typeface="Arial" pitchFamily="1" charset="0"/>
              </a:rPr>
              <a:pPr marL="0" marR="0" lvl="0" indent="0" algn="r" defTabSz="9142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it-IT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 pitchFamily="1" charset="0"/>
              <a:cs typeface="Arial" pitchFamily="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5764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641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168914-B68E-4780-8C43-C2162925C42E}" type="slidenum"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703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Образ слайда 1">
            <a:extLst>
              <a:ext uri="{FF2B5EF4-FFF2-40B4-BE49-F238E27FC236}">
                <a16:creationId xmlns:a16="http://schemas.microsoft.com/office/drawing/2014/main" id="{2ED6AC27-336B-4E0C-857C-FC7B3A3C8A2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299" name="Заметки 2">
            <a:extLst>
              <a:ext uri="{FF2B5EF4-FFF2-40B4-BE49-F238E27FC236}">
                <a16:creationId xmlns:a16="http://schemas.microsoft.com/office/drawing/2014/main" id="{39C06F22-E64B-2CF4-014F-30F536CCA9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Times New Roman" panose="02020603050405020304" pitchFamily="18" charset="0"/>
            </a:endParaRPr>
          </a:p>
        </p:txBody>
      </p:sp>
      <p:sp>
        <p:nvSpPr>
          <p:cNvPr id="55300" name="Номер слайда 3">
            <a:extLst>
              <a:ext uri="{FF2B5EF4-FFF2-40B4-BE49-F238E27FC236}">
                <a16:creationId xmlns:a16="http://schemas.microsoft.com/office/drawing/2014/main" id="{4B6A59BC-29A9-B005-099E-F55C4C2043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C2E931-C940-4413-88E8-7D3D1AB50486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>
            <a:extLst>
              <a:ext uri="{FF2B5EF4-FFF2-40B4-BE49-F238E27FC236}">
                <a16:creationId xmlns:a16="http://schemas.microsoft.com/office/drawing/2014/main" id="{813530AD-6BCB-4BD3-BB23-A4C019EF9B7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>
            <a:extLst>
              <a:ext uri="{FF2B5EF4-FFF2-40B4-BE49-F238E27FC236}">
                <a16:creationId xmlns:a16="http://schemas.microsoft.com/office/drawing/2014/main" id="{7F10AFF2-6FC1-4FE9-B9F8-3A2B4AE5034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ru-RU" altLang="ru-RU">
              <a:cs typeface="Arial" panose="020B0604020202020204" pitchFamily="34" charset="0"/>
            </a:endParaRPr>
          </a:p>
        </p:txBody>
      </p:sp>
      <p:sp>
        <p:nvSpPr>
          <p:cNvPr id="44036" name="Номер слайда 3">
            <a:extLst>
              <a:ext uri="{FF2B5EF4-FFF2-40B4-BE49-F238E27FC236}">
                <a16:creationId xmlns:a16="http://schemas.microsoft.com/office/drawing/2014/main" id="{7BE501CC-7D53-4BA1-9FF0-E80CF7EC33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91CC00-14B0-46DF-AA82-9979C4067116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Образ слайда 1">
            <a:extLst>
              <a:ext uri="{FF2B5EF4-FFF2-40B4-BE49-F238E27FC236}">
                <a16:creationId xmlns:a16="http://schemas.microsoft.com/office/drawing/2014/main" id="{6C681766-01D0-4722-9DED-A319A17B61C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2451" name="Заметки 2">
            <a:extLst>
              <a:ext uri="{FF2B5EF4-FFF2-40B4-BE49-F238E27FC236}">
                <a16:creationId xmlns:a16="http://schemas.microsoft.com/office/drawing/2014/main" id="{0D21ED1F-EA67-4B3C-91A0-2CC5D692255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Times New Roman" panose="02020603050405020304" pitchFamily="18" charset="0"/>
            </a:endParaRPr>
          </a:p>
        </p:txBody>
      </p:sp>
      <p:sp>
        <p:nvSpPr>
          <p:cNvPr id="232452" name="Номер слайда 3">
            <a:extLst>
              <a:ext uri="{FF2B5EF4-FFF2-40B4-BE49-F238E27FC236}">
                <a16:creationId xmlns:a16="http://schemas.microsoft.com/office/drawing/2014/main" id="{25A6CD60-43E3-4968-A5AE-FCDF886DA4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B48B2DE-5EFD-4F7D-B5C0-B421F62F8402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194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r" defTabSz="9096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9C58B-2B11-48AC-8784-B2F05EF5E2EF}" type="slidenum">
              <a:rPr kumimoji="0" lang="ru-RU" alt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96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ru-RU" altLang="ru-RU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828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hemeOverride" Target="../theme/themeOverride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hemeOverride" Target="../theme/themeOverride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7.bin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8.bin"/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6.xml"/><Relationship Id="rId1" Type="http://schemas.openxmlformats.org/officeDocument/2006/relationships/themeOverride" Target="../theme/themeOverride1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6.xml"/><Relationship Id="rId1" Type="http://schemas.openxmlformats.org/officeDocument/2006/relationships/themeOverride" Target="../theme/themeOverride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13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7.xml"/><Relationship Id="rId1" Type="http://schemas.openxmlformats.org/officeDocument/2006/relationships/themeOverride" Target="../theme/themeOverride1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8.xml"/><Relationship Id="rId1" Type="http://schemas.openxmlformats.org/officeDocument/2006/relationships/themeOverride" Target="../theme/themeOverride15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8.xml"/><Relationship Id="rId1" Type="http://schemas.openxmlformats.org/officeDocument/2006/relationships/themeOverride" Target="../theme/themeOverride1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9.xml"/><Relationship Id="rId1" Type="http://schemas.openxmlformats.org/officeDocument/2006/relationships/themeOverride" Target="../theme/themeOverride1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9.xml"/><Relationship Id="rId1" Type="http://schemas.openxmlformats.org/officeDocument/2006/relationships/themeOverride" Target="../theme/themeOverride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1.xml"/><Relationship Id="rId6" Type="http://schemas.openxmlformats.org/officeDocument/2006/relationships/image" Target="../media/image16.wmf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4.xml"/><Relationship Id="rId4" Type="http://schemas.openxmlformats.org/officeDocument/2006/relationships/image" Target="../media/image18.emf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11.bin"/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12.bin"/><Relationship Id="rId1" Type="http://schemas.openxmlformats.org/officeDocument/2006/relationships/slideMaster" Target="../slideMasters/slideMaster3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9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3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3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9.xml"/><Relationship Id="rId1" Type="http://schemas.openxmlformats.org/officeDocument/2006/relationships/tags" Target="../tags/tag5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9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0.xml"/><Relationship Id="rId1" Type="http://schemas.openxmlformats.org/officeDocument/2006/relationships/themeOverride" Target="../theme/themeOverride19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0.xml"/><Relationship Id="rId1" Type="http://schemas.openxmlformats.org/officeDocument/2006/relationships/themeOverride" Target="../theme/themeOverride20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1.xml"/><Relationship Id="rId1" Type="http://schemas.openxmlformats.org/officeDocument/2006/relationships/themeOverride" Target="../theme/themeOverride21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1.xml"/><Relationship Id="rId1" Type="http://schemas.openxmlformats.org/officeDocument/2006/relationships/themeOverride" Target="../theme/themeOverride2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2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2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2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slideMaster" Target="../slideMasters/slideMaster42.xml"/><Relationship Id="rId1" Type="http://schemas.openxmlformats.org/officeDocument/2006/relationships/tags" Target="../tags/tag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2.xml"/><Relationship Id="rId4" Type="http://schemas.openxmlformats.org/officeDocument/2006/relationships/image" Target="../media/image28.png"/></Relationships>
</file>

<file path=ppt/slideLayouts/_rels/slideLayout5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2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1B3287D5-B993-456C-BB1E-94A591F2D63E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FBC0DB3A-8173-40AA-B36D-ECB2831411BA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4CECB355-CBDF-45F2-A4CE-F6A9D21998AB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CCCDC3E4-F789-490A-97BE-423DA307E5E1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E9DC1BE1-87BF-4E6F-A8A1-352B1BF07E9F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7A8D5B0F-5E15-4FA7-8807-20E055C557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A206A75A-7EA9-4CCF-80A3-F02B15034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6565ACDA-08FD-4A76-90CA-EDE4F07EE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19BFB913-C588-48DB-9D55-FF6F41BC4D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73109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03B94628-4782-4FC1-A6AA-3D5973F6901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203662E0-BBBA-4E07-B005-9FAB5E092ED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2A8D678F-2C5C-4C5C-8BAB-54F509B9FCD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E10F7E-013A-4A09-958C-3D1C13BE5E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20196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4CA383BE-4C48-B3AB-257D-0A8F5F7CB2E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3D4A2ADE-D9FE-4F3E-E73D-7E296E077CE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31A6F4BA-0A51-FF92-1A30-674D0711BA3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6612-060A-4BAD-9BE8-42B02563EA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2510368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0C6044E3-46FE-C572-E060-D147BA1DA00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84B36F05-5398-947B-541B-4C6ED1E9B0E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A99A287C-3BE1-C84A-27EE-DC86AC3C652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56572F-D4BE-4BEF-87F7-9C410581B2F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179626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329E5A9D-50C9-8CCF-5B8B-83EAD1ACCDA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5426534D-06C6-D13C-C18C-B05810875C4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80793D28-3345-D390-90ED-6C2E8FB4320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FB30B-F127-430D-9733-7696155FCA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1654517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53FEA156-7B6F-B8E0-E73A-C6712E36966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200B2277-5A28-366D-AFA4-118C540771E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B8EC03A5-AAC0-571B-B435-B9D314A5AAF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5B722A-9125-4B45-A0E2-DEA06917D3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1316950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6B27D3BE-2A1D-C094-0E7A-4C77C7AF27D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518189F5-1F1E-9000-72BB-4EF3EA6FD81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7097AE9B-46B6-11EF-381C-47E2C3583DB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38E26-B783-437C-B2C5-B79F5EBA237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66914317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534702-B659-F90D-1E11-9899EC1CB52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64823E-6188-46BD-076C-EC4A97BDFB3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98BEF0-8B74-BD3E-6E26-DF1E6030EC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1B433C-D8D5-4EA1-95F9-A910302CCAF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7466794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574AE7D7-13D9-9AB7-4924-F9FE512885A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80396823-4E9A-417C-EC03-FC93762A0A8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A6AE10BE-3AEA-1B0E-33BE-06EF216118D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939292-DDDC-43CD-94E1-90364FA5658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1645902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0AAFCF9D-D473-46A9-A086-EAF49A13AADD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0EFF7978-DE36-4AC4-A8F5-A4102FCEAD1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A301AE50-61D3-4EA5-B655-5B2829BED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>
                <a:latin typeface="Times New Roman" pitchFamily="18" charset="0"/>
              </a:endParaRPr>
            </a:p>
          </p:txBody>
        </p:sp>
      </p:grpSp>
      <p:grpSp>
        <p:nvGrpSpPr>
          <p:cNvPr id="7" name="Group 5">
            <a:extLst>
              <a:ext uri="{FF2B5EF4-FFF2-40B4-BE49-F238E27FC236}">
                <a16:creationId xmlns:a16="http://schemas.microsoft.com/office/drawing/2014/main" id="{F77AD71B-E7A7-4944-9C15-F63A559A93F9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80F46A38-688A-4C1F-9285-827BCCC96A6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BD390B0E-9BC6-469D-B9AE-4B323205FB4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" name="Group 8">
            <a:extLst>
              <a:ext uri="{FF2B5EF4-FFF2-40B4-BE49-F238E27FC236}">
                <a16:creationId xmlns:a16="http://schemas.microsoft.com/office/drawing/2014/main" id="{5E835B1A-6743-49F1-89F5-AE1DC3E19E82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A21E80C4-8DD7-4455-A1BF-E0FA55092DD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46CE4D4D-87B3-4AF2-8F95-FFE1614FBE4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6F2C5EE8-D5C8-4B8C-A2B3-757D21247DAA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3BBCBB04-0B3C-4ADD-AD50-97768104A0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CCA0B95A-58FF-4745-9E9F-14583A799F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aphicFrame>
        <p:nvGraphicFramePr>
          <p:cNvPr id="16" name="Object 19">
            <a:extLst>
              <a:ext uri="{FF2B5EF4-FFF2-40B4-BE49-F238E27FC236}">
                <a16:creationId xmlns:a16="http://schemas.microsoft.com/office/drawing/2014/main" id="{B98AF2B6-7754-4716-BD4A-FAA686DCC23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6" name="Object 19">
                        <a:extLst>
                          <a:ext uri="{FF2B5EF4-FFF2-40B4-BE49-F238E27FC236}">
                            <a16:creationId xmlns:a16="http://schemas.microsoft.com/office/drawing/2014/main" id="{B98AF2B6-7754-4716-BD4A-FAA686DCC2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FFD873-0B69-450B-8147-51BDB950FCA9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622EF7-2C93-4460-A00F-AF68BE61393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2AD25C-7C89-42CC-9E46-2D61C0EE576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DFD8EF-D8DB-488B-B906-D7646CCAA5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939092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27AF597C-EC36-442B-861B-51627E20C97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580066B-29FF-480F-8833-63200924ADA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FB08BE8E-991C-4F57-B846-7B8C539BB21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80948-7D1D-4F8C-AF7B-3326F4E0C6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1916048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A184FBE6-32FB-4127-A59B-838483DB75F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83F9F7B5-1924-4E26-9CBB-2B0E054B621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DE5FF142-089D-44CF-A764-BD44655EF83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6E805-CAE9-4532-A168-77FE78E9750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430778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14EB242D-8AF9-4192-ADCD-41AD34E03A4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463D9908-5B36-4545-B12E-A40EF2547F7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5AF9D4DC-8360-4FAA-8276-DE770D6E0C5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AA6074-DF65-464F-91BD-B421DE02EE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6995362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DD0BE185-DA17-4F45-AA75-516EE4841BC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457A1618-EDB9-4285-A31A-04A811B6911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9D45B8F7-BA47-4326-B50C-46813EEA977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E3E3CD-72C8-4267-B97D-E6B5ABB3AD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7954855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7B4176C3-C5AA-4434-8D9A-4E22B484035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7C2885B4-A82D-4F2C-8697-50EE4BDCC76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70B0E130-9DF0-4224-914D-ADB1790883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D69CA2-4A89-4764-A664-9965836E6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23527088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F755703E-5487-4ADF-8A73-21A9752733C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C3C5D36E-4B1C-4DCD-A053-B276E9B78A6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8E03C9E3-1259-4C78-999A-E3C7CC69F6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53DA7-55E1-4541-A4A4-12EED7B97F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224713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57231626-34B3-4014-8CB6-8C71EBDDFFC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9D7A4161-0E4F-43AA-B4FA-9F1C0F26643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C3FB0E8A-E109-4375-8950-33A25476DA2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F560B-BE55-4B6E-9AB7-39D4C77042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68871255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4C0012AF-73EE-456E-B7CE-A16D0D37302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7BD24BD2-D5E9-4946-9653-4CBE81A8B3F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E5DAFF95-4FB7-4535-8881-596DD90E2D0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303E84-FBC8-44F7-B9E4-3793B64373F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8219101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7A201D3C-A032-435F-A4CC-EEBAE121F1A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2DD5BA80-B96D-4E2A-9255-F4B3B9233EF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7B2C6AE8-190A-4244-BAF4-B267C6B23E1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671E12-4AB0-4624-A03E-B2A402508C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847164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FF83074B-EF3A-42F0-9CA4-F8900C21C66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CE14D724-E57C-4035-8513-70173C16845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7F55380C-2DA5-4479-A5F2-C8022A62DBB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E052C-845D-434A-BA3B-FD97F985639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6025129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679962C1-1692-4807-9DC5-DE886F79DA0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5193999B-BBEE-435C-98BA-403C78B3E4D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3111F21F-A336-476F-BB7C-5AF6612194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B85770-28C3-4AC9-BF62-21A400F2329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89507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A370D8-4E95-4052-9DAE-D5B724E0377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E7CA5B-B46F-4D8E-9782-04FC62C770D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E8E2A4-7F57-47DB-8324-D5761C5180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50DD6-E38A-4A9F-83BF-A1180C54EBE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4609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C06F3923-93B8-48B0-8A86-0346A54413B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65B6E098-39EC-4ECD-BE65-6BF9611741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B9CB0AF5-DC81-4C4A-A3D9-D7284D5F2F2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6EDF70-426F-4118-BAC6-230EDD2962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46072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2B54E80C-646F-4995-B419-594805F16FE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B92D2230-3D91-4B04-BA4D-3DB5B817B77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4F091445-E1D1-46E7-842A-7674C4E6BB8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182EE-1545-4969-AC72-B93407DCF1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3555776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D4A6201E-3EE4-4C2C-AE31-96101B4ACCF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31A5361B-6BD0-45E6-87D8-E9EF3B7D612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7E283842-5307-4062-82AF-1C5C0B570A6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6766BD-A181-4684-817F-B20F077DE31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509506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625" y="609600"/>
            <a:ext cx="8080375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2625" y="198120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FB4148D-C2F7-405C-9624-A2774503D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F74511D-4F83-4F7D-B5C2-8F1AE459A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BF37B10-0845-4F0E-A842-DB5AB240B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2pPr lvl="1" eaLnBrk="1" hangingPunct="1">
              <a:defRPr/>
            </a:lvl2pPr>
          </a:lstStyle>
          <a:p>
            <a:pPr lvl="1">
              <a:defRPr/>
            </a:pPr>
            <a:fld id="{8ADC15CE-F072-431C-8E1F-BFBE5AA883D0}" type="slidenum">
              <a:rPr lang="ru-RU" altLang="ru-RU"/>
              <a:pPr lvl="1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39242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315061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25406827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2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59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36183927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/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42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34290" indent="0" algn="r"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A93A7207-8FA1-41A8-A4C1-B1DBA8970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8626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/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42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1650">
                <a:solidFill>
                  <a:schemeClr val="tx1"/>
                </a:solidFill>
              </a:defRPr>
            </a:lvl1pPr>
            <a:lvl2pPr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52E85AAE-7540-48FC-94A9-E6630184C8C6}" type="slidenum">
              <a:rPr lang="ru-RU"/>
              <a:pPr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581471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5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/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9"/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/>
          <p:cNvSpPr/>
          <p:nvPr/>
        </p:nvSpPr>
        <p:spPr>
          <a:xfrm rot="420000" flipV="1">
            <a:off x="8004176" y="5359402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2"/>
          <p:cNvSpPr>
            <a:spLocks/>
          </p:cNvSpPr>
          <p:nvPr/>
        </p:nvSpPr>
        <p:spPr bwMode="auto">
          <a:xfrm flipV="1">
            <a:off x="4381500" y="6219827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8"/>
            <a:ext cx="2212848" cy="1582621"/>
          </a:xfrm>
        </p:spPr>
        <p:txBody>
          <a:bodyPr lIns="45720" rIns="45720" bIns="45720"/>
          <a:lstStyle>
            <a:lvl1pPr algn="l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188"/>
              </a:spcBef>
              <a:buFontTx/>
              <a:buNone/>
              <a:defRPr sz="975"/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FFD21A-EB6D-4F57-8B6C-562087779897}" type="slidenum">
              <a:rPr lang="ru-RU"/>
              <a:pPr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218465162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678D93-4C33-4C3F-94F5-7064E834F7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068266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6" y="107576"/>
            <a:ext cx="8042276" cy="1336956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9275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1071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629835" y="6275670"/>
            <a:ext cx="2133600" cy="365125"/>
          </a:xfrm>
          <a:prstGeom prst="rect">
            <a:avLst/>
          </a:prstGeom>
        </p:spPr>
        <p:txBody>
          <a:bodyPr/>
          <a:lstStyle/>
          <a:p>
            <a:fld id="{B01F9CA3-105E-4857-9057-6DB6197DA786}" type="datetimeFigureOut">
              <a:rPr lang="en-US" smtClean="0"/>
              <a:t>11/1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4458" y="6275670"/>
            <a:ext cx="484094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2346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6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81B01F69-D67C-4E0D-8D13-D1D9152B04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3383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C1C68CEF-C71D-4411-B89A-A64021CF27E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DE6078D8-0067-4DEB-B236-F7F45A6DFB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513ABAB6-9B12-4A9D-A8FE-735BAACD915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6421EE-5DFA-48EB-9F43-9122CFEF61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285723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02812F-4987-4F4B-9663-D4B8F3D511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253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A502EA3-D671-4E71-AF45-F522A1A837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013"/>
            </a:lvl1pPr>
            <a:lvl2pPr marL="192881" indent="0" algn="ctr">
              <a:buNone/>
              <a:defRPr sz="844"/>
            </a:lvl2pPr>
            <a:lvl3pPr marL="385763" indent="0" algn="ctr">
              <a:buNone/>
              <a:defRPr sz="760"/>
            </a:lvl3pPr>
            <a:lvl4pPr marL="578644" indent="0" algn="ctr">
              <a:buNone/>
              <a:defRPr sz="675"/>
            </a:lvl4pPr>
            <a:lvl5pPr marL="771525" indent="0" algn="ctr">
              <a:buNone/>
              <a:defRPr sz="675"/>
            </a:lvl5pPr>
            <a:lvl6pPr marL="964406" indent="0" algn="ctr">
              <a:buNone/>
              <a:defRPr sz="675"/>
            </a:lvl6pPr>
            <a:lvl7pPr marL="1157288" indent="0" algn="ctr">
              <a:buNone/>
              <a:defRPr sz="675"/>
            </a:lvl7pPr>
            <a:lvl8pPr marL="1350169" indent="0" algn="ctr">
              <a:buNone/>
              <a:defRPr sz="675"/>
            </a:lvl8pPr>
            <a:lvl9pPr marL="1543050" indent="0" algn="ctr">
              <a:buNone/>
              <a:defRPr sz="675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FB842A3-52C1-448A-9CCC-B77DF4CDC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4E2A8A8-4A8F-4F59-ACA5-1B02CED0D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AC1973A-F858-41A2-8D5C-80E4DCC51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6288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BB73D5-E5D1-4AA8-863D-C870DA6E1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FD69B03-5539-4046-9DAB-0A72C906E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21C87-50DD-4230-A324-B782785664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7F6D2B-EFBB-4E3A-8785-D7F619D23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1EBCB2-82F7-43D3-9E92-81BC93974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46350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C0707A-2FC9-4AA5-8D00-83278203A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253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40403B-4777-44D5-9F4D-7ADDCAD09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1pPr>
            <a:lvl2pPr marL="192881" indent="0">
              <a:buNone/>
              <a:defRPr sz="844">
                <a:solidFill>
                  <a:schemeClr val="tx1">
                    <a:tint val="75000"/>
                  </a:schemeClr>
                </a:solidFill>
              </a:defRPr>
            </a:lvl2pPr>
            <a:lvl3pPr marL="385763" indent="0">
              <a:buNone/>
              <a:defRPr sz="760">
                <a:solidFill>
                  <a:schemeClr val="tx1">
                    <a:tint val="75000"/>
                  </a:schemeClr>
                </a:solidFill>
              </a:defRPr>
            </a:lvl3pPr>
            <a:lvl4pPr marL="578644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4pPr>
            <a:lvl5pPr marL="771525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5pPr>
            <a:lvl6pPr marL="964406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6pPr>
            <a:lvl7pPr marL="1157288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7pPr>
            <a:lvl8pPr marL="1350169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8pPr>
            <a:lvl9pPr marL="1543050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DE0DA9E-1A40-43AB-94E4-625D07CFC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26B90A1-D86B-4C10-912F-CB8EA84EB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E55C58-7270-4F1B-ADE2-BE6FE2C1D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36815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885238-B35D-49B5-B52E-E2806DD88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79B593-F0E8-4E45-AFB5-C5D4260FE6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796E3C8-9C69-4523-8DC4-86A1226DCB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8C05A19-CB71-42DE-BCD7-BC2284A2E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5CAB1C-FEDC-41D9-ABBE-50441D1E2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7510C91-CFC7-4881-B9AF-FE4D5810F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09739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345C63-4B0E-443F-8826-D23745516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48C6F54-450B-4CF4-90B0-8ABADB9233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013" b="1"/>
            </a:lvl1pPr>
            <a:lvl2pPr marL="192881" indent="0">
              <a:buNone/>
              <a:defRPr sz="844" b="1"/>
            </a:lvl2pPr>
            <a:lvl3pPr marL="385763" indent="0">
              <a:buNone/>
              <a:defRPr sz="760" b="1"/>
            </a:lvl3pPr>
            <a:lvl4pPr marL="578644" indent="0">
              <a:buNone/>
              <a:defRPr sz="675" b="1"/>
            </a:lvl4pPr>
            <a:lvl5pPr marL="771525" indent="0">
              <a:buNone/>
              <a:defRPr sz="675" b="1"/>
            </a:lvl5pPr>
            <a:lvl6pPr marL="964406" indent="0">
              <a:buNone/>
              <a:defRPr sz="675" b="1"/>
            </a:lvl6pPr>
            <a:lvl7pPr marL="1157288" indent="0">
              <a:buNone/>
              <a:defRPr sz="675" b="1"/>
            </a:lvl7pPr>
            <a:lvl8pPr marL="1350169" indent="0">
              <a:buNone/>
              <a:defRPr sz="675" b="1"/>
            </a:lvl8pPr>
            <a:lvl9pPr marL="1543050" indent="0">
              <a:buNone/>
              <a:defRPr sz="6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CAD206C-28C4-40A7-B0FA-8E4FB2222D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458E421-C365-48A0-9DEE-654DEF83C1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013" b="1"/>
            </a:lvl1pPr>
            <a:lvl2pPr marL="192881" indent="0">
              <a:buNone/>
              <a:defRPr sz="844" b="1"/>
            </a:lvl2pPr>
            <a:lvl3pPr marL="385763" indent="0">
              <a:buNone/>
              <a:defRPr sz="760" b="1"/>
            </a:lvl3pPr>
            <a:lvl4pPr marL="578644" indent="0">
              <a:buNone/>
              <a:defRPr sz="675" b="1"/>
            </a:lvl4pPr>
            <a:lvl5pPr marL="771525" indent="0">
              <a:buNone/>
              <a:defRPr sz="675" b="1"/>
            </a:lvl5pPr>
            <a:lvl6pPr marL="964406" indent="0">
              <a:buNone/>
              <a:defRPr sz="675" b="1"/>
            </a:lvl6pPr>
            <a:lvl7pPr marL="1157288" indent="0">
              <a:buNone/>
              <a:defRPr sz="675" b="1"/>
            </a:lvl7pPr>
            <a:lvl8pPr marL="1350169" indent="0">
              <a:buNone/>
              <a:defRPr sz="675" b="1"/>
            </a:lvl8pPr>
            <a:lvl9pPr marL="1543050" indent="0">
              <a:buNone/>
              <a:defRPr sz="675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CD9B6B2-37E2-40B3-AF62-470EA89849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5AC992CD-023C-4CDF-9772-761CB9E67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0DF52F6-F6A3-44FF-AAD8-DDB4F9D0D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659D00C-C110-4823-AA19-BD9D03F2E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577573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5E8171-369D-4C55-A8E7-067FB4636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916FAE3-0C54-4123-BEF4-FC5B8A964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D525E46-7701-4315-B833-9B6D4F220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D487A1E-166D-4882-8283-602FD4BAD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492778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62087F5-82D1-4983-8C5D-CF0DBDD0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C69C33F-3F59-4C5E-BE4D-2E4C87F03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971DFD7-834B-4D85-9E4E-E070EF9BA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5093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B1C1CB-A817-4C59-BB04-1C43EB1CC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1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409776F-F208-423E-A615-5E1FEE70A2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1350"/>
            </a:lvl1pPr>
            <a:lvl2pPr>
              <a:defRPr sz="1181"/>
            </a:lvl2pPr>
            <a:lvl3pPr>
              <a:defRPr sz="1013"/>
            </a:lvl3pPr>
            <a:lvl4pPr>
              <a:defRPr sz="844"/>
            </a:lvl4pPr>
            <a:lvl5pPr>
              <a:defRPr sz="844"/>
            </a:lvl5pPr>
            <a:lvl6pPr>
              <a:defRPr sz="844"/>
            </a:lvl6pPr>
            <a:lvl7pPr>
              <a:defRPr sz="844"/>
            </a:lvl7pPr>
            <a:lvl8pPr>
              <a:defRPr sz="844"/>
            </a:lvl8pPr>
            <a:lvl9pPr>
              <a:defRPr sz="84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5B04B5C-C45A-4306-8348-7EDE8173A3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675"/>
            </a:lvl1pPr>
            <a:lvl2pPr marL="192881" indent="0">
              <a:buNone/>
              <a:defRPr sz="591"/>
            </a:lvl2pPr>
            <a:lvl3pPr marL="385763" indent="0">
              <a:buNone/>
              <a:defRPr sz="506"/>
            </a:lvl3pPr>
            <a:lvl4pPr marL="578644" indent="0">
              <a:buNone/>
              <a:defRPr sz="422"/>
            </a:lvl4pPr>
            <a:lvl5pPr marL="771525" indent="0">
              <a:buNone/>
              <a:defRPr sz="422"/>
            </a:lvl5pPr>
            <a:lvl6pPr marL="964406" indent="0">
              <a:buNone/>
              <a:defRPr sz="422"/>
            </a:lvl6pPr>
            <a:lvl7pPr marL="1157288" indent="0">
              <a:buNone/>
              <a:defRPr sz="422"/>
            </a:lvl7pPr>
            <a:lvl8pPr marL="1350169" indent="0">
              <a:buNone/>
              <a:defRPr sz="422"/>
            </a:lvl8pPr>
            <a:lvl9pPr marL="1543050" indent="0">
              <a:buNone/>
              <a:defRPr sz="42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4C3B5F-E4EC-44E5-B6FA-A19EA878B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9FF121F-C34B-4C0F-BBD2-55CC7FAD9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66ED041-91E1-4C9C-8943-BA86552E1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00404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31D76F-E7A8-46F8-8A06-179E41C5C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1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5D804B3-4D57-4207-94EA-5B38412820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1350"/>
            </a:lvl1pPr>
            <a:lvl2pPr marL="192881" indent="0">
              <a:buNone/>
              <a:defRPr sz="1181"/>
            </a:lvl2pPr>
            <a:lvl3pPr marL="385763" indent="0">
              <a:buNone/>
              <a:defRPr sz="1013"/>
            </a:lvl3pPr>
            <a:lvl4pPr marL="578644" indent="0">
              <a:buNone/>
              <a:defRPr sz="844"/>
            </a:lvl4pPr>
            <a:lvl5pPr marL="771525" indent="0">
              <a:buNone/>
              <a:defRPr sz="844"/>
            </a:lvl5pPr>
            <a:lvl6pPr marL="964406" indent="0">
              <a:buNone/>
              <a:defRPr sz="844"/>
            </a:lvl6pPr>
            <a:lvl7pPr marL="1157288" indent="0">
              <a:buNone/>
              <a:defRPr sz="844"/>
            </a:lvl7pPr>
            <a:lvl8pPr marL="1350169" indent="0">
              <a:buNone/>
              <a:defRPr sz="844"/>
            </a:lvl8pPr>
            <a:lvl9pPr marL="1543050" indent="0">
              <a:buNone/>
              <a:defRPr sz="844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6799E0A-89C6-4AF4-9451-343875C05E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675"/>
            </a:lvl1pPr>
            <a:lvl2pPr marL="192881" indent="0">
              <a:buNone/>
              <a:defRPr sz="591"/>
            </a:lvl2pPr>
            <a:lvl3pPr marL="385763" indent="0">
              <a:buNone/>
              <a:defRPr sz="506"/>
            </a:lvl3pPr>
            <a:lvl4pPr marL="578644" indent="0">
              <a:buNone/>
              <a:defRPr sz="422"/>
            </a:lvl4pPr>
            <a:lvl5pPr marL="771525" indent="0">
              <a:buNone/>
              <a:defRPr sz="422"/>
            </a:lvl5pPr>
            <a:lvl6pPr marL="964406" indent="0">
              <a:buNone/>
              <a:defRPr sz="422"/>
            </a:lvl6pPr>
            <a:lvl7pPr marL="1157288" indent="0">
              <a:buNone/>
              <a:defRPr sz="422"/>
            </a:lvl7pPr>
            <a:lvl8pPr marL="1350169" indent="0">
              <a:buNone/>
              <a:defRPr sz="422"/>
            </a:lvl8pPr>
            <a:lvl9pPr marL="1543050" indent="0">
              <a:buNone/>
              <a:defRPr sz="42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4A42C0B-94A3-4920-956D-C6E780D19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236F8EC-FF3E-4D38-9749-40B6A3CF0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631FCB0-ABBF-41FA-8DBA-27C10759E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468846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7826A9-2BC2-4246-B4F5-F2FDD122C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3F4684F-2D39-4F27-9EDB-96726CD0FC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A239C8-CCD0-4834-960B-C867C859B3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89D3E4-3688-41E5-800E-E8FE7E6D1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3A96F4-1F18-4459-B3DF-D3821D5C6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8905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0D5FBFE4-CC5E-45CB-AF12-93DA9292F0D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1D47AAE-BB5C-4A5A-AB47-E3AC5B95D3A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6E512836-0B76-40AD-8350-B08C9C9519F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8E90D-EC69-4136-AA48-30BF7B6464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296388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C9BD0EA-8372-4F51-B164-708DF2DAAC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4621746-5B4A-4E32-90F3-6610C92801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069BE68-4B08-4390-97B4-EA13D3C75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DD7EE84-ED0F-4D40-A74B-ADD49F0DE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DC001E-83FF-4A8A-97B2-8670C59A2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326401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12004" y="579889"/>
            <a:ext cx="8281175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92" y="1376365"/>
            <a:ext cx="8281987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410820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333074"/>
            <a:ext cx="7467600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37358337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er &amp; Content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78501" y="429723"/>
            <a:ext cx="7666324" cy="187552"/>
          </a:xfrm>
          <a:prstGeom prst="rect">
            <a:avLst/>
          </a:prstGeom>
        </p:spPr>
        <p:txBody>
          <a:bodyPr vert="horz" wrap="square" lIns="0" tIns="0" rIns="90000" bIns="46800" rtlCol="0" anchor="t">
            <a:spAutoFit/>
          </a:bodyPr>
          <a:lstStyle>
            <a:lvl1pPr>
              <a:defRPr lang="en-US" sz="1013" b="1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endParaRPr lang="en-US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61678B9-B6F8-4A07-B560-430D724286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8082" y="1622681"/>
            <a:ext cx="8373578" cy="4176224"/>
          </a:xfrm>
          <a:prstGeom prst="rect">
            <a:avLst/>
          </a:prstGeom>
        </p:spPr>
        <p:txBody>
          <a:bodyPr rtlCol="0"/>
          <a:lstStyle/>
          <a:p>
            <a:pPr lvl="0" rtl="0"/>
            <a:r>
              <a:rPr lang="ru"/>
              <a:t>Mastertextformat bearbeiten</a:t>
            </a:r>
          </a:p>
          <a:p>
            <a:pPr lvl="1" rtl="0"/>
            <a:r>
              <a:rPr lang="ru"/>
              <a:t>Zweite Ebene</a:t>
            </a:r>
          </a:p>
          <a:p>
            <a:pPr lvl="2" rtl="0"/>
            <a:r>
              <a:rPr lang="ru"/>
              <a:t>Dritte Ebene</a:t>
            </a:r>
          </a:p>
          <a:p>
            <a:pPr lvl="3" rtl="0"/>
            <a:r>
              <a:rPr lang="ru"/>
              <a:t>Vierte Ebene</a:t>
            </a:r>
          </a:p>
          <a:p>
            <a:pPr lvl="4" rtl="0"/>
            <a:r>
              <a:rPr lang="ru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5C3379-A602-4E91-BBD7-D8B3F737E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bIns="46800" rtlCol="0" anchor="b"/>
          <a:lstStyle/>
          <a:p>
            <a:pPr rtl="0"/>
            <a:r>
              <a:rPr lang="ru">
                <a:solidFill>
                  <a:srgbClr val="FFFFFF">
                    <a:lumMod val="5000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rtl="0"/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EAE8E6-CB0F-4ED1-9033-6DE1D2AC3D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8623" y="6092825"/>
            <a:ext cx="7865269" cy="509588"/>
          </a:xfrm>
        </p:spPr>
        <p:txBody>
          <a:bodyPr rtlCol="0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79">
                <a:solidFill>
                  <a:srgbClr val="7F7F7F"/>
                </a:solidFill>
              </a:defRPr>
            </a:lvl1pPr>
            <a:lvl2pPr>
              <a:defRPr sz="422"/>
            </a:lvl2pPr>
            <a:lvl3pPr>
              <a:defRPr sz="422"/>
            </a:lvl3pPr>
            <a:lvl4pPr>
              <a:defRPr sz="422"/>
            </a:lvl4pPr>
            <a:lvl5pPr>
              <a:defRPr sz="422"/>
            </a:lvl5pPr>
          </a:lstStyle>
          <a:p>
            <a:pPr lvl="0" rtl="0"/>
            <a:r>
              <a:rPr lang="ru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66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6" y="1138299"/>
            <a:ext cx="8099899" cy="252000"/>
          </a:xfrm>
        </p:spPr>
        <p:txBody>
          <a:bodyPr anchor="t"/>
          <a:lstStyle>
            <a:lvl1pPr marL="0" indent="0" algn="l">
              <a:buNone/>
              <a:defRPr sz="788">
                <a:solidFill>
                  <a:schemeClr val="accent1"/>
                </a:solidFill>
              </a:defRPr>
            </a:lvl1pPr>
            <a:lvl2pPr marL="0" indent="0" algn="l">
              <a:buNone/>
              <a:defRPr sz="788">
                <a:solidFill>
                  <a:schemeClr val="accent1"/>
                </a:solidFill>
              </a:defRPr>
            </a:lvl2pPr>
            <a:lvl3pPr marL="0" indent="0" algn="l">
              <a:buNone/>
              <a:defRPr sz="788">
                <a:solidFill>
                  <a:schemeClr val="accent1"/>
                </a:solidFill>
              </a:defRPr>
            </a:lvl3pPr>
            <a:lvl4pPr marL="0" indent="0" algn="l">
              <a:buNone/>
              <a:defRPr sz="788">
                <a:solidFill>
                  <a:schemeClr val="accent1"/>
                </a:solidFill>
              </a:defRPr>
            </a:lvl4pPr>
            <a:lvl5pPr marL="0" indent="0" algn="l">
              <a:buNone/>
              <a:defRPr sz="788">
                <a:solidFill>
                  <a:schemeClr val="accent1"/>
                </a:solidFill>
              </a:defRPr>
            </a:lvl5pPr>
            <a:lvl6pPr marL="0" indent="0" algn="l">
              <a:buNone/>
              <a:defRPr sz="788">
                <a:solidFill>
                  <a:schemeClr val="accent1"/>
                </a:solidFill>
              </a:defRPr>
            </a:lvl6pPr>
            <a:lvl7pPr marL="0" indent="0" algn="l">
              <a:buNone/>
              <a:defRPr sz="788">
                <a:solidFill>
                  <a:schemeClr val="accent1"/>
                </a:solidFill>
              </a:defRPr>
            </a:lvl7pPr>
            <a:lvl8pPr marL="0" indent="0" algn="l">
              <a:buNone/>
              <a:defRPr sz="788">
                <a:solidFill>
                  <a:schemeClr val="accent1"/>
                </a:solidFill>
              </a:defRPr>
            </a:lvl8pPr>
            <a:lvl9pPr marL="0" indent="0" algn="l">
              <a:buNone/>
              <a:defRPr sz="788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>
            <a:lvl1pPr algn="l" defTabSz="3857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013" b="1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E8CAFE-2186-4D7A-8CEF-71F81B840E77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FFD42A7-CE58-41A9-BFDE-F1AE467DEB98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9" y="1732751"/>
            <a:ext cx="8101054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32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2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760">
                <a:solidFill>
                  <a:schemeClr val="bg1"/>
                </a:solidFill>
              </a:defRPr>
            </a:lvl1pPr>
            <a:lvl2pPr marL="0" indent="0" algn="l">
              <a:buNone/>
              <a:defRPr sz="760">
                <a:solidFill>
                  <a:schemeClr val="bg1"/>
                </a:solidFill>
              </a:defRPr>
            </a:lvl2pPr>
            <a:lvl3pPr marL="0" indent="0" algn="l">
              <a:buNone/>
              <a:defRPr sz="760">
                <a:solidFill>
                  <a:schemeClr val="bg1"/>
                </a:solidFill>
              </a:defRPr>
            </a:lvl3pPr>
            <a:lvl4pPr marL="0" indent="0" algn="l">
              <a:buNone/>
              <a:defRPr sz="760">
                <a:solidFill>
                  <a:schemeClr val="bg1"/>
                </a:solidFill>
              </a:defRPr>
            </a:lvl4pPr>
            <a:lvl5pPr marL="0" indent="0" algn="l">
              <a:buNone/>
              <a:defRPr sz="760">
                <a:solidFill>
                  <a:schemeClr val="bg1"/>
                </a:solidFill>
              </a:defRPr>
            </a:lvl5pPr>
            <a:lvl6pPr marL="0" indent="0" algn="l">
              <a:buNone/>
              <a:defRPr sz="760">
                <a:solidFill>
                  <a:schemeClr val="bg1"/>
                </a:solidFill>
              </a:defRPr>
            </a:lvl6pPr>
            <a:lvl7pPr marL="0" indent="0" algn="l">
              <a:buNone/>
              <a:defRPr sz="760">
                <a:solidFill>
                  <a:schemeClr val="bg1"/>
                </a:solidFill>
              </a:defRPr>
            </a:lvl7pPr>
            <a:lvl8pPr marL="0" indent="0" algn="l">
              <a:buNone/>
              <a:defRPr sz="760">
                <a:solidFill>
                  <a:schemeClr val="bg1"/>
                </a:solidFill>
              </a:defRPr>
            </a:lvl8pPr>
            <a:lvl9pPr marL="0" indent="0" algn="l">
              <a:buNone/>
              <a:defRPr sz="76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D66F5BD-BFB6-4D49-A4C4-AE446C139577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66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9293D7A-1F70-49AD-9E96-BA8F599D56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12838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30946B-C752-4C8B-9356-ACAF523D5AC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1732174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C9DEFC-069F-435F-920E-9ABFA32C08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9310556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DDC6F6C-4840-4C9D-A1B4-F1437F9A52D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08053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57200" y="1743076"/>
            <a:ext cx="8229600" cy="4329130"/>
          </a:xfrm>
        </p:spPr>
        <p:txBody>
          <a:bodyPr/>
          <a:lstStyle>
            <a:lvl1pPr>
              <a:defRPr sz="2600" baseline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1pPr>
            <a:lvl2pPr>
              <a:defRPr sz="24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2pPr>
            <a:lvl3pPr>
              <a:defRPr sz="20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3pPr>
            <a:lvl4pPr>
              <a:defRPr sz="18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428599" y="214298"/>
            <a:ext cx="6215063" cy="135731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1" baseline="0">
                <a:solidFill>
                  <a:srgbClr val="00863D"/>
                </a:solidFill>
                <a:latin typeface="Helvetica" pitchFamily="34" charset="0"/>
              </a:defRPr>
            </a:lvl1pPr>
            <a:lvl2pPr>
              <a:buNone/>
              <a:defRPr sz="2800" b="1">
                <a:solidFill>
                  <a:srgbClr val="00863D"/>
                </a:solidFill>
                <a:latin typeface="Helvetica" pitchFamily="34" charset="0"/>
              </a:defRPr>
            </a:lvl2pPr>
            <a:lvl3pPr>
              <a:buNone/>
              <a:defRPr sz="2800" b="1">
                <a:solidFill>
                  <a:srgbClr val="00863D"/>
                </a:solidFill>
                <a:latin typeface="Helvetica" pitchFamily="34" charset="0"/>
              </a:defRPr>
            </a:lvl3pPr>
            <a:lvl4pPr>
              <a:buNone/>
              <a:defRPr sz="2800" b="1">
                <a:solidFill>
                  <a:srgbClr val="00863D"/>
                </a:solidFill>
                <a:latin typeface="Helvetica" pitchFamily="34" charset="0"/>
              </a:defRPr>
            </a:lvl4pPr>
            <a:lvl5pPr>
              <a:buNone/>
              <a:defRPr sz="2800" b="1">
                <a:solidFill>
                  <a:srgbClr val="00863D"/>
                </a:solidFill>
                <a:latin typeface="Helvetic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40B18AC-60ED-4062-957A-09CBFA1997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587FCE18-31E7-425D-82F4-4E0AAB91EA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4925" y="6357938"/>
            <a:ext cx="590550" cy="184150"/>
          </a:xfrm>
        </p:spPr>
        <p:txBody>
          <a:bodyPr/>
          <a:lstStyle>
            <a:lvl1pPr algn="l">
              <a:defRPr>
                <a:solidFill>
                  <a:srgbClr val="FF66CC">
                    <a:lumMod val="50000"/>
                  </a:srgbClr>
                </a:solidFill>
              </a:defRPr>
            </a:lvl1pPr>
          </a:lstStyle>
          <a:p>
            <a:pPr>
              <a:defRPr/>
            </a:pPr>
            <a:fld id="{0C7414E9-B1FE-4C11-BD05-E45F86F105F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35995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3C83996-A634-49BB-ADD8-FF493BF96BD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2184617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E3AC4E2-7D9F-415E-A2F6-693499BF1D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762106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A1FA374-226A-4AE3-B0F5-366559080D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617681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DF3C99-0642-41A0-93C0-60BC10E43F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3521385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11CDA3-C3AA-4D7B-8775-AADC3DE77E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7227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DAAFAC-4385-430F-8F31-B4587D1B222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621146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5C6A889-C285-4699-BA8E-3B3229B265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819698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57200" y="1743076"/>
            <a:ext cx="8229600" cy="4329130"/>
          </a:xfrm>
        </p:spPr>
        <p:txBody>
          <a:bodyPr/>
          <a:lstStyle>
            <a:lvl1pPr>
              <a:defRPr sz="1950" baseline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1pPr>
            <a:lvl2pPr>
              <a:defRPr sz="18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2pPr>
            <a:lvl3pPr>
              <a:defRPr sz="15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3pPr>
            <a:lvl4pPr>
              <a:defRPr sz="135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4pPr>
            <a:lvl5pPr>
              <a:defRPr sz="1200">
                <a:solidFill>
                  <a:schemeClr val="bg1">
                    <a:lumMod val="50000"/>
                  </a:schemeClr>
                </a:solidFill>
                <a:latin typeface="Helvetic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428600" y="214298"/>
            <a:ext cx="6215063" cy="135731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100" b="1" baseline="0">
                <a:solidFill>
                  <a:srgbClr val="00863D"/>
                </a:solidFill>
                <a:latin typeface="Helvetica" pitchFamily="34" charset="0"/>
              </a:defRPr>
            </a:lvl1pPr>
            <a:lvl2pPr>
              <a:buNone/>
              <a:defRPr sz="2100" b="1">
                <a:solidFill>
                  <a:srgbClr val="00863D"/>
                </a:solidFill>
                <a:latin typeface="Helvetica" pitchFamily="34" charset="0"/>
              </a:defRPr>
            </a:lvl2pPr>
            <a:lvl3pPr>
              <a:buNone/>
              <a:defRPr sz="2100" b="1">
                <a:solidFill>
                  <a:srgbClr val="00863D"/>
                </a:solidFill>
                <a:latin typeface="Helvetica" pitchFamily="34" charset="0"/>
              </a:defRPr>
            </a:lvl3pPr>
            <a:lvl4pPr>
              <a:buNone/>
              <a:defRPr sz="2100" b="1">
                <a:solidFill>
                  <a:srgbClr val="00863D"/>
                </a:solidFill>
                <a:latin typeface="Helvetica" pitchFamily="34" charset="0"/>
              </a:defRPr>
            </a:lvl4pPr>
            <a:lvl5pPr>
              <a:buNone/>
              <a:defRPr sz="2100" b="1">
                <a:solidFill>
                  <a:srgbClr val="00863D"/>
                </a:solidFill>
                <a:latin typeface="Helvetica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34925" y="6357938"/>
            <a:ext cx="590550" cy="184150"/>
          </a:xfrm>
        </p:spPr>
        <p:txBody>
          <a:bodyPr/>
          <a:lstStyle>
            <a:lvl1pPr algn="l">
              <a:defRPr smtClean="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7AA62736-84EA-4CFB-8FE6-283816CE7D2C}" type="slidenum">
              <a:rPr lang="de-DE" altLang="ru-RU"/>
              <a:pPr>
                <a:defRPr/>
              </a:pPr>
              <a:t>‹#›</a:t>
            </a:fld>
            <a:endParaRPr lang="de-DE" altLang="ru-RU"/>
          </a:p>
        </p:txBody>
      </p:sp>
    </p:spTree>
    <p:extLst>
      <p:ext uri="{BB962C8B-B14F-4D97-AF65-F5344CB8AC3E}">
        <p14:creationId xmlns:p14="http://schemas.microsoft.com/office/powerpoint/2010/main" val="163064715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42543" y="1739140"/>
            <a:ext cx="322707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1"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6E5C22-05E2-4662-BC04-BE75900D62AF}" type="datetimeFigureOut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17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 smtClean="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523A85-CD63-41E5-91DC-95EAD62223EB}" type="slidenum">
              <a:rPr lang="ru-RU" altLang="ru-RU" smtClean="0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48686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48A1BFF8-AA1D-4B6E-B446-5C06ADD974B5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61ADEFCC-479A-42D6-A82E-BE714BD88862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697FB537-068A-4160-A5DC-886A7663D09F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7C09C346-0B35-4DFC-95F3-4BE2719013E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EE919437-14E2-4A6E-BD80-BB04FFF039B0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577F39C6-1539-4419-8F44-0D1C0B474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F405E892-2C8F-495A-8450-8BD787DCF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4415E15B-EAD5-462C-BACC-9E0CF6736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B11B813A-688C-41DE-A5C6-F7CC86FE3F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2315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2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59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8416857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2BE5A676-6613-4AE2-A9FC-63A3EC17C011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F813135A-7048-447F-B321-022E42459D1F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E442E5C2-68E1-4853-ABCE-97BD3313D3A0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3C291406-FC0F-4B35-8A52-550867B517BE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50022CC6-FDBE-451F-86A3-5B9220F54EDB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386CEBC2-BC78-4467-8ACD-912A7737FD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25D336ED-0D06-4E2A-88A0-B709E78EC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2830426B-A622-403E-A91D-1117917580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00D552D8-4CF0-4389-9010-E5B7A77D7927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640930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EC3623E4-2E12-4306-BB68-49506D9690B3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427D1AD2-DF3F-48B3-BC6B-A81261D3CA5E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DAE61159-8A90-4F71-988B-416856C47FF9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CA698E5C-7440-4539-B478-DA896485DF96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310B1AB0-5F1C-449A-A5B7-0E4BCD006E8B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7CDA8B8B-5E35-4650-A25B-85C9E84ACC4D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DA0E0739-D1D4-4C7A-972F-F971BCCBF6FE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19198F68-0676-42A3-8BAE-56E24551358C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7BF9161C-2A4B-469A-96C0-86993FAF4F8B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E259013B-0CB4-43C9-A69A-4FE5A3D85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4AF843EF-0343-479D-9011-BB35FD1BE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BA34522D-2286-4CA1-9D6B-D0D00DF05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7FF2A-6229-4D43-823B-E075A751C7A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5459621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88B61A0C-6386-4017-8E61-A40B67355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AFA8D268-BCAC-4423-99BA-EAC876A23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41636D67-7EED-4D40-90AF-6584BD8E7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44AA3E-8669-4220-8131-D2591598C09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773278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0B456C1-2177-43F1-8A97-A3634E6F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172C8E-E0AA-488E-923E-3C6723D46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6FE8857-15CB-48D7-889C-BAC681034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CF4DC-9BB2-4B3C-A5F7-A46A51967B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532248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DDACECAD-065D-44BA-864D-796648328A5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25740B71-3D73-4AD4-B59A-D3BD38DD619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223188E5-502D-4FB6-9BFD-9F0C46113D8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8E28A-5E87-4924-87E0-99AC6D5EFD6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32818165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9831CA-ED2C-478B-A4B8-1C2476F37BF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153C617-5929-40D1-8D62-D1F7EAFE6C0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CDCA4D-42FC-4CB2-9F2B-EC2C38F2325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83536-C08A-4AA8-9C05-403EE4BC2C11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22529666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7B1804B-0C0E-4287-A4D4-5606892B428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E82B05A-C4D2-4B48-BF26-4BC3FF7A7E7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ABE2E7C-A38E-4987-937A-833F00A0FF5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4E2DC-645F-454E-9C6E-7C51798E3411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00390383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A76EA915-6445-4C92-B78C-2671491ED92B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DEAC84F5-B47F-4C64-9E09-4A1D1215F60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277E0FD0-C2A0-47B8-B22E-20AC6D1CA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 algn="ctr">
                <a:defRPr/>
              </a:pPr>
              <a:endParaRPr lang="ru-RU" altLang="ru-RU">
                <a:latin typeface="Times New Roman" panose="02020603050405020304" pitchFamily="18" charset="0"/>
              </a:endParaRPr>
            </a:p>
          </p:txBody>
        </p:sp>
      </p:grpSp>
      <p:grpSp>
        <p:nvGrpSpPr>
          <p:cNvPr id="7" name="Group 5">
            <a:extLst>
              <a:ext uri="{FF2B5EF4-FFF2-40B4-BE49-F238E27FC236}">
                <a16:creationId xmlns:a16="http://schemas.microsoft.com/office/drawing/2014/main" id="{48CDF5F7-98CC-451B-9D09-9B9DCF50ABD2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FDFD07C1-1448-46E7-8CEE-0D13F79B129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58A11E6C-E256-40A2-BFA5-B1CE715E1F4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pSp>
        <p:nvGrpSpPr>
          <p:cNvPr id="10" name="Group 8">
            <a:extLst>
              <a:ext uri="{FF2B5EF4-FFF2-40B4-BE49-F238E27FC236}">
                <a16:creationId xmlns:a16="http://schemas.microsoft.com/office/drawing/2014/main" id="{C02E4B4C-9D8C-46E8-99F3-2DD60257FB15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B8955D59-2D62-4258-BC15-F2C74F486CC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1462EFBD-0FD2-4946-B95B-1D98D196918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A350D466-39A1-4C53-BF76-738B57AA946B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19B56C52-8B59-4D0A-8204-7B371D9592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468B2238-88C8-423B-A6C7-58554B91102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aphicFrame>
        <p:nvGraphicFramePr>
          <p:cNvPr id="16" name="Object 19">
            <a:extLst>
              <a:ext uri="{FF2B5EF4-FFF2-40B4-BE49-F238E27FC236}">
                <a16:creationId xmlns:a16="http://schemas.microsoft.com/office/drawing/2014/main" id="{3660FAD0-CA44-4482-A8A1-000D429FDDB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6" name="Object 19">
                        <a:extLst>
                          <a:ext uri="{FF2B5EF4-FFF2-40B4-BE49-F238E27FC236}">
                            <a16:creationId xmlns:a16="http://schemas.microsoft.com/office/drawing/2014/main" id="{3660FAD0-CA44-4482-A8A1-000D429FDD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236DB5-0CF5-4F3A-A12B-FD39909FA8EA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A0495B0-4555-43F9-90F0-FFABAC47DCC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AB746F1-1CF5-41A9-8ADB-26E5AAE86CF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5D5017-B106-4A50-82BF-8DE1633819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089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1C03DF39-AEF8-4B82-8658-EA1C588687F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17DE92FF-8FA6-4C29-946E-5DD55921C14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F8223A41-A4DC-4E0F-8A1C-1FF686DA099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C23E37-9E06-4265-ADED-EA46D381C4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3975360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9" indent="0">
              <a:buNone/>
              <a:defRPr sz="1800"/>
            </a:lvl2pPr>
            <a:lvl3pPr marL="914177" indent="0">
              <a:buNone/>
              <a:defRPr sz="1600"/>
            </a:lvl3pPr>
            <a:lvl4pPr marL="1371265" indent="0">
              <a:buNone/>
              <a:defRPr sz="1400"/>
            </a:lvl4pPr>
            <a:lvl5pPr marL="1828353" indent="0">
              <a:buNone/>
              <a:defRPr sz="1400"/>
            </a:lvl5pPr>
            <a:lvl6pPr marL="2285442" indent="0">
              <a:buNone/>
              <a:defRPr sz="1400"/>
            </a:lvl6pPr>
            <a:lvl7pPr marL="2742531" indent="0">
              <a:buNone/>
              <a:defRPr sz="1400"/>
            </a:lvl7pPr>
            <a:lvl8pPr marL="3199619" indent="0">
              <a:buNone/>
              <a:defRPr sz="1400"/>
            </a:lvl8pPr>
            <a:lvl9pPr marL="3656707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19EC756E-9262-4962-9AD0-2EF7D0FE7BB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CDD54BD-AF57-4C12-8F8D-8325B093B3C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1EB9789F-8753-42B7-8087-A021FBB278B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C86387-72F9-4EB9-A0B8-2670559ED0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496656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50">
            <a:extLst>
              <a:ext uri="{FF2B5EF4-FFF2-40B4-BE49-F238E27FC236}">
                <a16:creationId xmlns:a16="http://schemas.microsoft.com/office/drawing/2014/main" id="{B7C0C2A9-6A84-4990-A79C-C02A59EC8620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228600" y="3200400"/>
            <a:ext cx="8763000" cy="1341438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pic>
        <p:nvPicPr>
          <p:cNvPr id="5" name="Picture 2051" descr="ANABNR2">
            <a:extLst>
              <a:ext uri="{FF2B5EF4-FFF2-40B4-BE49-F238E27FC236}">
                <a16:creationId xmlns:a16="http://schemas.microsoft.com/office/drawing/2014/main" id="{88ED885A-94DE-4985-B78D-5EB6A1602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00" t="-1314" r="-2" b="-36961"/>
          <a:stretch>
            <a:fillRect/>
          </a:stretch>
        </p:blipFill>
        <p:spPr bwMode="auto">
          <a:xfrm>
            <a:off x="533400" y="3200400"/>
            <a:ext cx="8458200" cy="115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052">
            <a:extLst>
              <a:ext uri="{FF2B5EF4-FFF2-40B4-BE49-F238E27FC236}">
                <a16:creationId xmlns:a16="http://schemas.microsoft.com/office/drawing/2014/main" id="{810EFCD4-CA67-4234-A5B1-35AC0609AAAC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795338" y="2895600"/>
            <a:ext cx="304800" cy="990600"/>
          </a:xfrm>
          <a:prstGeom prst="rect">
            <a:avLst/>
          </a:prstGeom>
          <a:solidFill>
            <a:schemeClr val="accent2">
              <a:alpha val="50195"/>
            </a:schemeClr>
          </a:soli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385029" name="Rectangle 2053"/>
          <p:cNvSpPr>
            <a:spLocks noGrp="1" noChangeArrowheads="1"/>
          </p:cNvSpPr>
          <p:nvPr>
            <p:ph type="ctrTitle"/>
          </p:nvPr>
        </p:nvSpPr>
        <p:spPr>
          <a:xfrm>
            <a:off x="1143000" y="1981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85030" name="Rectangle 2054"/>
          <p:cNvSpPr>
            <a:spLocks noGrp="1" noChangeArrowheads="1"/>
          </p:cNvSpPr>
          <p:nvPr>
            <p:ph type="subTitle" idx="1"/>
          </p:nvPr>
        </p:nvSpPr>
        <p:spPr>
          <a:xfrm>
            <a:off x="2038350" y="4351338"/>
            <a:ext cx="6400800" cy="1371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" name="Rectangle 2055">
            <a:extLst>
              <a:ext uri="{FF2B5EF4-FFF2-40B4-BE49-F238E27FC236}">
                <a16:creationId xmlns:a16="http://schemas.microsoft.com/office/drawing/2014/main" id="{C2B4B742-7CBA-424F-95D5-2CA64C20C99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3246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56">
            <a:extLst>
              <a:ext uri="{FF2B5EF4-FFF2-40B4-BE49-F238E27FC236}">
                <a16:creationId xmlns:a16="http://schemas.microsoft.com/office/drawing/2014/main" id="{A9196FA9-B007-4AA7-9553-9F1219C9125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246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057">
            <a:extLst>
              <a:ext uri="{FF2B5EF4-FFF2-40B4-BE49-F238E27FC236}">
                <a16:creationId xmlns:a16="http://schemas.microsoft.com/office/drawing/2014/main" id="{B53C0679-D5E7-485E-8A46-AEC12A74124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24600"/>
            <a:ext cx="1905000" cy="457200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fld id="{83BD86F3-8AAD-4D98-A5E5-BDB8DD4CA7A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5970220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BF5F41F1-1B8F-41EF-AD82-A24230B4F50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FE709F71-4328-41BD-AC3B-0719FDE508A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2D034208-81D8-479F-82AE-5BC77E8946B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F141DC-8D8B-489A-9998-6F137DFE66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954790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9" indent="0">
              <a:buNone/>
              <a:defRPr sz="2000" b="1"/>
            </a:lvl2pPr>
            <a:lvl3pPr marL="914177" indent="0">
              <a:buNone/>
              <a:defRPr sz="1800" b="1"/>
            </a:lvl3pPr>
            <a:lvl4pPr marL="1371265" indent="0">
              <a:buNone/>
              <a:defRPr sz="1600" b="1"/>
            </a:lvl4pPr>
            <a:lvl5pPr marL="1828353" indent="0">
              <a:buNone/>
              <a:defRPr sz="1600" b="1"/>
            </a:lvl5pPr>
            <a:lvl6pPr marL="2285442" indent="0">
              <a:buNone/>
              <a:defRPr sz="1600" b="1"/>
            </a:lvl6pPr>
            <a:lvl7pPr marL="2742531" indent="0">
              <a:buNone/>
              <a:defRPr sz="1600" b="1"/>
            </a:lvl7pPr>
            <a:lvl8pPr marL="3199619" indent="0">
              <a:buNone/>
              <a:defRPr sz="1600" b="1"/>
            </a:lvl8pPr>
            <a:lvl9pPr marL="36567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9" indent="0">
              <a:buNone/>
              <a:defRPr sz="2000" b="1"/>
            </a:lvl2pPr>
            <a:lvl3pPr marL="914177" indent="0">
              <a:buNone/>
              <a:defRPr sz="1800" b="1"/>
            </a:lvl3pPr>
            <a:lvl4pPr marL="1371265" indent="0">
              <a:buNone/>
              <a:defRPr sz="1600" b="1"/>
            </a:lvl4pPr>
            <a:lvl5pPr marL="1828353" indent="0">
              <a:buNone/>
              <a:defRPr sz="1600" b="1"/>
            </a:lvl5pPr>
            <a:lvl6pPr marL="2285442" indent="0">
              <a:buNone/>
              <a:defRPr sz="1600" b="1"/>
            </a:lvl6pPr>
            <a:lvl7pPr marL="2742531" indent="0">
              <a:buNone/>
              <a:defRPr sz="1600" b="1"/>
            </a:lvl7pPr>
            <a:lvl8pPr marL="3199619" indent="0">
              <a:buNone/>
              <a:defRPr sz="1600" b="1"/>
            </a:lvl8pPr>
            <a:lvl9pPr marL="36567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61C976BA-D83D-4499-9D2B-12B91EA06D5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E118D28D-41C6-4DF7-882C-C219C46F449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671528C3-54A4-4B9B-9730-30D2CB24580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0FE25-6BF4-49FE-BF3A-FD46DCE5F5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0234010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095F8260-EB4D-4D71-849D-2C060F98670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B1EB307B-ABE3-4385-8E5F-9A1C4C2407A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ACAFC138-BCB2-42B9-8A6D-755576ABFCD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B439C-7910-46E0-B122-1FA14013DF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721676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4D8C47FC-27A5-4C65-B8C2-F57025CC2F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FD15695F-2EE7-4841-9ECC-CBA8ECBC198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BD61886F-BE30-4115-B5B5-96D89651329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AFC6E4-164C-4CAC-8CC3-66DE52A323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952176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89" indent="0">
              <a:buNone/>
              <a:defRPr sz="1200"/>
            </a:lvl2pPr>
            <a:lvl3pPr marL="914177" indent="0">
              <a:buNone/>
              <a:defRPr sz="1000"/>
            </a:lvl3pPr>
            <a:lvl4pPr marL="1371265" indent="0">
              <a:buNone/>
              <a:defRPr sz="900"/>
            </a:lvl4pPr>
            <a:lvl5pPr marL="1828353" indent="0">
              <a:buNone/>
              <a:defRPr sz="900"/>
            </a:lvl5pPr>
            <a:lvl6pPr marL="2285442" indent="0">
              <a:buNone/>
              <a:defRPr sz="900"/>
            </a:lvl6pPr>
            <a:lvl7pPr marL="2742531" indent="0">
              <a:buNone/>
              <a:defRPr sz="900"/>
            </a:lvl7pPr>
            <a:lvl8pPr marL="3199619" indent="0">
              <a:buNone/>
              <a:defRPr sz="900"/>
            </a:lvl8pPr>
            <a:lvl9pPr marL="365670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E62FEEE3-AF8E-4C6F-A183-2CA73B74C91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3DEBAAE4-097C-4325-AC46-385A209C5CA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546E7C3A-B9B0-435D-9F5E-62386C7D297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D9C51-FBF1-4113-8E30-2EAA1EB823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96543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89" indent="0">
              <a:buNone/>
              <a:defRPr sz="2800"/>
            </a:lvl2pPr>
            <a:lvl3pPr marL="914177" indent="0">
              <a:buNone/>
              <a:defRPr sz="2400"/>
            </a:lvl3pPr>
            <a:lvl4pPr marL="1371265" indent="0">
              <a:buNone/>
              <a:defRPr sz="2000"/>
            </a:lvl4pPr>
            <a:lvl5pPr marL="1828353" indent="0">
              <a:buNone/>
              <a:defRPr sz="2000"/>
            </a:lvl5pPr>
            <a:lvl6pPr marL="2285442" indent="0">
              <a:buNone/>
              <a:defRPr sz="2000"/>
            </a:lvl6pPr>
            <a:lvl7pPr marL="2742531" indent="0">
              <a:buNone/>
              <a:defRPr sz="2000"/>
            </a:lvl7pPr>
            <a:lvl8pPr marL="3199619" indent="0">
              <a:buNone/>
              <a:defRPr sz="2000"/>
            </a:lvl8pPr>
            <a:lvl9pPr marL="3656707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89" indent="0">
              <a:buNone/>
              <a:defRPr sz="1200"/>
            </a:lvl2pPr>
            <a:lvl3pPr marL="914177" indent="0">
              <a:buNone/>
              <a:defRPr sz="1000"/>
            </a:lvl3pPr>
            <a:lvl4pPr marL="1371265" indent="0">
              <a:buNone/>
              <a:defRPr sz="900"/>
            </a:lvl4pPr>
            <a:lvl5pPr marL="1828353" indent="0">
              <a:buNone/>
              <a:defRPr sz="900"/>
            </a:lvl5pPr>
            <a:lvl6pPr marL="2285442" indent="0">
              <a:buNone/>
              <a:defRPr sz="900"/>
            </a:lvl6pPr>
            <a:lvl7pPr marL="2742531" indent="0">
              <a:buNone/>
              <a:defRPr sz="900"/>
            </a:lvl7pPr>
            <a:lvl8pPr marL="3199619" indent="0">
              <a:buNone/>
              <a:defRPr sz="900"/>
            </a:lvl8pPr>
            <a:lvl9pPr marL="3656707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F95891C8-A450-4798-A0A1-DEC9C731DB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749DE1BB-3525-4D6D-BA80-9D4F8D48CA2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DFE614CB-3B4B-4BC9-AFBE-7DDCF422474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6D931D-AA24-471D-B45E-24C61E0140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283958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38F9B70C-5958-484C-8F2D-E121622457D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755744E-8235-4F88-A748-66331427BFF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DBDB1D39-48E9-4CC9-89B4-E1BA97308F8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D42C78-58E3-478C-8558-EEB8737798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129101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1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1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CC1B71F1-517D-4116-8E58-3D1710921A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C67E3A6C-6116-41B6-AFCA-32D7B1264AC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A60D3437-CF18-4CB6-9F18-7AD8AA1BA94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FB6A45-6559-4BEF-995D-120E9444A5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2821573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Modelle-Power-Point-Presentation-Template-3-1.jpg">
            <a:extLst>
              <a:ext uri="{FF2B5EF4-FFF2-40B4-BE49-F238E27FC236}">
                <a16:creationId xmlns:a16="http://schemas.microsoft.com/office/drawing/2014/main" id="{21CFBAA4-0463-423A-8F06-E203255AD8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538" y="1506538"/>
            <a:ext cx="4983315" cy="929202"/>
          </a:xfrm>
        </p:spPr>
        <p:txBody>
          <a:bodyPr>
            <a:normAutofit/>
          </a:bodyPr>
          <a:lstStyle>
            <a:lvl1pPr>
              <a:defRPr sz="2800">
                <a:solidFill>
                  <a:srgbClr val="66248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5531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A06027D1-F1E2-4FE9-9FD1-027CDA0536D6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3545AF6B-FB39-433C-9110-C7E501EBCB4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4F553A43-0566-4934-932D-1ED5B7647B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>
                <a:latin typeface="Times New Roman" pitchFamily="18" charset="0"/>
              </a:endParaRPr>
            </a:p>
          </p:txBody>
        </p:sp>
      </p:grpSp>
      <p:grpSp>
        <p:nvGrpSpPr>
          <p:cNvPr id="7" name="Group 5">
            <a:extLst>
              <a:ext uri="{FF2B5EF4-FFF2-40B4-BE49-F238E27FC236}">
                <a16:creationId xmlns:a16="http://schemas.microsoft.com/office/drawing/2014/main" id="{5A0A9E50-AD66-43AD-AD33-F3BAD2001446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3345ADF-23A3-4FD7-A197-7165BF765D5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B7260C6-DECD-4A84-AC63-96F62F2448E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" name="Group 8">
            <a:extLst>
              <a:ext uri="{FF2B5EF4-FFF2-40B4-BE49-F238E27FC236}">
                <a16:creationId xmlns:a16="http://schemas.microsoft.com/office/drawing/2014/main" id="{824B9940-FBD0-4186-9DD1-E1889488A738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C2C9EB71-AA30-4CBF-8DBC-CCDFFD7D94F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994C26FA-5C6B-4156-8880-D02CB9E0A7A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25C91849-59F3-4769-B719-41D00D091858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4B5949E6-B8B3-4317-A956-47E7C149A5D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6A97E8C0-4D47-4219-BA72-42BBEA05C8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aphicFrame>
        <p:nvGraphicFramePr>
          <p:cNvPr id="16" name="Object 19">
            <a:extLst>
              <a:ext uri="{FF2B5EF4-FFF2-40B4-BE49-F238E27FC236}">
                <a16:creationId xmlns:a16="http://schemas.microsoft.com/office/drawing/2014/main" id="{750FC2CC-6F6B-44F6-A201-55C35F16B6C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6" name="Object 19">
                        <a:extLst>
                          <a:ext uri="{FF2B5EF4-FFF2-40B4-BE49-F238E27FC236}">
                            <a16:creationId xmlns:a16="http://schemas.microsoft.com/office/drawing/2014/main" id="{750FC2CC-6F6B-44F6-A201-55C35F16B6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F11911-7CD3-48D0-B53D-8E8AF19366C8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F66A76C-0A6D-445E-92EC-8724436B88B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0E0552-3F53-4DB1-A9C3-2818AEE8FDA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57FB5EE-9F0F-4F91-9B95-4FF8536B59C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06590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AE075189-3337-499B-A2EB-285488B488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B4529E1F-3153-4F6D-9690-6A60BCFFD1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C598BCA7-7640-4D63-8CDC-1CC1EBBEF53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3E4C36-2C81-4BEA-BC0C-3E170A5FF3C3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77944231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702DEBC2-5DD7-4E30-B8ED-D30BC737EFC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DBC85151-05A6-4668-B127-52877EDB161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3B9A3BF5-C013-484D-B4D3-68E51D6755A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DEF3A-599A-4C35-970B-FD4F8CC73D1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6225976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1A7A958E-488D-4C4C-8E95-B8ACA033BB8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BAB04F80-A26F-498B-9346-8E8C0A72D96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942EC236-70E7-4CEA-8ACA-AFB47983C82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B8B9F2E-5A44-4E11-96F6-21A7468C0B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81638410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59F0FD95-BDD5-4D3D-A9C4-EFCAA2C93C4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52C18FF5-B28B-43C9-8B20-E169905983B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D497AC46-CB61-491B-9EAA-03578CCE96E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6A93A2-57CC-467D-8377-01DE82E8CA3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0712138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416235AE-09F5-42BE-98B1-A820F0EDC61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21BB0D0-D16F-4BD3-BEF0-B319951A37E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8FFE0F76-E512-471A-B775-0076BE16854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638DB01-B392-4D4D-95E9-4769425EB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003528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642BFB2F-C134-4BE6-AC29-B3AA520E94C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D24617BD-FE6C-45BA-AE7D-2D1F336FE35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236DBBB3-3DFB-4587-8E73-9E33DB46ECA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DD2C6F-6DF6-4F05-8CA5-398780488C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5511875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DAF79374-5B66-47C8-9818-4F0A6980820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59EF61B0-C7D1-40EF-987A-EEA96CF57DF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C372278F-17DF-4126-AE72-5883C9B2407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1879B-0DD6-48F9-A0A4-6159BE4BCA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2923180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17E32A98-A947-41A2-AD04-D9220EBEFFF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AB279A6E-A891-4E3E-96D9-050911B1BF6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345E63B4-652F-4A4E-AB9E-A33B9B81D55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F61433-A4B1-4576-B129-7AF54FB1E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82456196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74AA2824-12ED-40AE-9C0F-DDFE3EB548B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B717348-57D2-44AD-BDB2-F8220DAF427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37BE1581-32FF-4B15-9288-341625B5C92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DDCC52-8536-42BD-8E24-69D6D03C184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10698227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D1CE6BD5-56E0-423E-8937-FB24B5DDD97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D8D87D15-7B3F-4EC0-9153-EF65192FA1D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806A3B9F-E3B2-4272-AF2E-CF38F0C7373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E687D19-0FA6-4E8B-A3DA-B7022D29093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01288804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1CEA2C1D-FCDC-4D20-8065-FB028D1C0E2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EC77845B-A66B-44CF-95C3-2651BD12E28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C53309F8-0883-4953-A7E8-E5E14EBC199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C53B85C-3EA7-43E5-8FC3-ED034A9F113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285395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E716046B-C8B6-45FC-ABF9-1B0F78F1A37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498AA6C4-6843-4324-98F7-2125BBE4811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C0361066-10F3-4E21-8F87-1AA77289C09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E7A73D-7CA8-44A3-8B21-C2013C58190C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0091900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E8FFF54C-6155-4C3C-9983-CC44F711B7D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02C476C3-6EEF-43EE-8B54-48387566D17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AD7D933F-CD1B-4833-A107-40CF5BDA554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951BFD6-D1BD-452D-8D25-2221B5F4069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749730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625" y="609600"/>
            <a:ext cx="8080375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2625" y="198120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7D5E4C4-2264-439E-A553-B554E24C99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80D1018-879E-498F-822C-60F6E899F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E2A9F4A-1774-422A-AFEA-146913FFD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2pPr lvl="1" eaLnBrk="1" hangingPunct="1">
              <a:defRPr smtClean="0"/>
            </a:lvl2pPr>
          </a:lstStyle>
          <a:p>
            <a:pPr lvl="1">
              <a:defRPr/>
            </a:pPr>
            <a:fld id="{019EF686-6A62-4F50-AF3D-15B16665CFE0}" type="slidenum">
              <a:rPr lang="ru-RU" altLang="ru-RU"/>
              <a:pPr lvl="1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280573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315061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13105371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12E8ED95-413D-47D5-872A-AEC26B69F25E}"/>
              </a:ext>
            </a:extLst>
          </p:cNvPr>
          <p:cNvCxnSpPr/>
          <p:nvPr/>
        </p:nvCxnSpPr>
        <p:spPr>
          <a:xfrm>
            <a:off x="146367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0796F959-9499-42CF-9089-073F3CA410A9}"/>
              </a:ext>
            </a:extLst>
          </p:cNvPr>
          <p:cNvCxnSpPr/>
          <p:nvPr/>
        </p:nvCxnSpPr>
        <p:spPr>
          <a:xfrm>
            <a:off x="470852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вал 5">
            <a:extLst>
              <a:ext uri="{FF2B5EF4-FFF2-40B4-BE49-F238E27FC236}">
                <a16:creationId xmlns:a16="http://schemas.microsoft.com/office/drawing/2014/main" id="{7E5E9D00-56D9-4CBC-B7E8-3E2DEE92EC6E}"/>
              </a:ext>
            </a:extLst>
          </p:cNvPr>
          <p:cNvSpPr/>
          <p:nvPr/>
        </p:nvSpPr>
        <p:spPr>
          <a:xfrm>
            <a:off x="4540250" y="3525838"/>
            <a:ext cx="46038" cy="46037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b="1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699804"/>
            <a:ext cx="830580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457200" y="1433732"/>
            <a:ext cx="8305800" cy="1981200"/>
          </a:xfrm>
          <a:ln w="6350" cap="rnd">
            <a:noFill/>
          </a:ln>
        </p:spPr>
        <p:txBody>
          <a:bodyPr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Дата 14">
            <a:extLst>
              <a:ext uri="{FF2B5EF4-FFF2-40B4-BE49-F238E27FC236}">
                <a16:creationId xmlns:a16="http://schemas.microsoft.com/office/drawing/2014/main" id="{4AFCEB1A-638E-411C-B8A9-6A3E144C6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15">
            <a:extLst>
              <a:ext uri="{FF2B5EF4-FFF2-40B4-BE49-F238E27FC236}">
                <a16:creationId xmlns:a16="http://schemas.microsoft.com/office/drawing/2014/main" id="{46B86DDD-C4F0-4A58-ABA4-C23D05DD42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5CE698E3-2E34-4467-ABA5-31EE6DA4DB4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10" name="Нижний колонтитул 16">
            <a:extLst>
              <a:ext uri="{FF2B5EF4-FFF2-40B4-BE49-F238E27FC236}">
                <a16:creationId xmlns:a16="http://schemas.microsoft.com/office/drawing/2014/main" id="{D2A85F74-06AD-4ACA-B2F2-61C68DD72D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12070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одержимое 8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315AF840-A573-43CC-A397-B1F04EE4C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6AA547B6-29BE-4603-A48E-2EA088681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C1F71625-B0DD-4529-AE70-B12576F8B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1919BF07-61DC-4B9A-9D02-2D4CC4A92A6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39949284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4268834-CBFF-4AEC-8F2F-29BBC17B13DE}"/>
              </a:ext>
            </a:extLst>
          </p:cNvPr>
          <p:cNvCxnSpPr/>
          <p:nvPr/>
        </p:nvCxnSpPr>
        <p:spPr>
          <a:xfrm>
            <a:off x="685800" y="4916488"/>
            <a:ext cx="7924800" cy="4762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924800" cy="13716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48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4958864"/>
            <a:ext cx="7924800" cy="984736"/>
          </a:xfrm>
        </p:spPr>
        <p:txBody>
          <a:bodyPr/>
          <a:lstStyle>
            <a:lvl1pPr marL="0" indent="0">
              <a:buNone/>
              <a:defRPr sz="2000" spc="10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63831849-5B9B-4B3E-92D8-FA12C4BFC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ECE72707-A3DC-40CE-BCA0-5058DE94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C3B67450-7904-46E3-AEE6-C52784B11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0EF45F0-BAEF-4673-B9C4-8F51829A015E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1045654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59936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59936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FB2E3679-CE4E-484A-87A4-5CA08D465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B51EA1F0-E3AC-4DCF-B2EC-56950E44C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FE595FED-7E5A-44C1-BF70-E01F95253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5CCDDE66-833E-4A43-883F-CD462030795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9508563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A98269B-477F-4CC8-938B-D244FC3F883B}"/>
              </a:ext>
            </a:extLst>
          </p:cNvPr>
          <p:cNvCxnSpPr/>
          <p:nvPr/>
        </p:nvCxnSpPr>
        <p:spPr>
          <a:xfrm>
            <a:off x="563563" y="2179638"/>
            <a:ext cx="3748087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98B1E8D-AA31-4621-900B-FB2D0022AB58}"/>
              </a:ext>
            </a:extLst>
          </p:cNvPr>
          <p:cNvCxnSpPr/>
          <p:nvPr/>
        </p:nvCxnSpPr>
        <p:spPr>
          <a:xfrm>
            <a:off x="4754563" y="2179638"/>
            <a:ext cx="3749675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Содержимое 31"/>
          <p:cNvSpPr>
            <a:spLocks noGrp="1"/>
          </p:cNvSpPr>
          <p:nvPr>
            <p:ph sz="half" idx="2"/>
          </p:nvPr>
        </p:nvSpPr>
        <p:spPr>
          <a:xfrm>
            <a:off x="457200" y="2201896"/>
            <a:ext cx="4038600" cy="39136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34" name="Содержимое 33"/>
          <p:cNvSpPr>
            <a:spLocks noGrp="1"/>
          </p:cNvSpPr>
          <p:nvPr>
            <p:ph sz="quarter" idx="4"/>
          </p:nvPr>
        </p:nvSpPr>
        <p:spPr>
          <a:xfrm>
            <a:off x="4649788" y="2201896"/>
            <a:ext cx="4038600" cy="39136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4648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 baseline="0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F0FD98F-C2BD-4EAE-B6BC-2C77EBF090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D5897AE4-2234-456D-A403-FC9423676B4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10" name="Нижний колонтитул 7">
            <a:extLst>
              <a:ext uri="{FF2B5EF4-FFF2-40B4-BE49-F238E27FC236}">
                <a16:creationId xmlns:a16="http://schemas.microsoft.com/office/drawing/2014/main" id="{57BD2878-43FE-4DCF-8A94-50ED3F4C0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Дата 6">
            <a:extLst>
              <a:ext uri="{FF2B5EF4-FFF2-40B4-BE49-F238E27FC236}">
                <a16:creationId xmlns:a16="http://schemas.microsoft.com/office/drawing/2014/main" id="{3AEE308B-657B-40A0-A02A-734EEB8FDA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7753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3">
            <a:extLst>
              <a:ext uri="{FF2B5EF4-FFF2-40B4-BE49-F238E27FC236}">
                <a16:creationId xmlns:a16="http://schemas.microsoft.com/office/drawing/2014/main" id="{AA9C3D0D-CB04-43F5-85BB-068C93EC6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ижний колонтитул 9">
            <a:extLst>
              <a:ext uri="{FF2B5EF4-FFF2-40B4-BE49-F238E27FC236}">
                <a16:creationId xmlns:a16="http://schemas.microsoft.com/office/drawing/2014/main" id="{8B4A641D-35E7-47B7-8DB4-BCD3CEB4F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омер слайда 21">
            <a:extLst>
              <a:ext uri="{FF2B5EF4-FFF2-40B4-BE49-F238E27FC236}">
                <a16:creationId xmlns:a16="http://schemas.microsoft.com/office/drawing/2014/main" id="{DA0CBB76-FB55-4725-B173-F1E4D9ABA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4262198C-1A4C-4FC9-A31F-67F40FFA021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6355957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3">
            <a:extLst>
              <a:ext uri="{FF2B5EF4-FFF2-40B4-BE49-F238E27FC236}">
                <a16:creationId xmlns:a16="http://schemas.microsoft.com/office/drawing/2014/main" id="{93F27768-A1D7-47C6-B0D4-6F5BDC404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Нижний колонтитул 9">
            <a:extLst>
              <a:ext uri="{FF2B5EF4-FFF2-40B4-BE49-F238E27FC236}">
                <a16:creationId xmlns:a16="http://schemas.microsoft.com/office/drawing/2014/main" id="{DA2DE3B5-A87B-4434-964F-8F80991C2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омер слайда 21">
            <a:extLst>
              <a:ext uri="{FF2B5EF4-FFF2-40B4-BE49-F238E27FC236}">
                <a16:creationId xmlns:a16="http://schemas.microsoft.com/office/drawing/2014/main" id="{A08C2397-77AB-4D94-BB03-01B88D7F9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E708E93-6A47-4DCD-B4DE-C5D5BA2FC3C0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14348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E86AFE86-C88B-4E8A-8724-18D8380671B2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8678AADF-AFD0-4B9D-9AA2-BE02A8E5EDE9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0B1EF5F8-2395-4E5F-BD3E-E32ACC09DB5C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E7A1C21E-4498-4E11-8E46-CF4BB3B08860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84C018C0-714E-4CC7-B3E7-24693375A0A1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C02226B6-E00A-4254-8E01-0B08A381C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97C18DC7-A36F-4891-9FC0-03D7FADA86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7E766E01-6B9B-41A5-AABE-C5C938E53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DDD2605D-F114-42C5-A602-716548FA7D3E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112480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89CC9ACF-805C-467B-BD79-29869D898E2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62ABAB2-BB80-41D0-86B2-601951F5656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E171431B-0F32-4F96-A4FA-96058E38823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F86932-CC74-4DA1-972C-119E1365FABF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7456163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одержимое 28"/>
          <p:cNvSpPr>
            <a:spLocks noGrp="1"/>
          </p:cNvSpPr>
          <p:nvPr>
            <p:ph sz="quarter" idx="1"/>
          </p:nvPr>
        </p:nvSpPr>
        <p:spPr>
          <a:xfrm>
            <a:off x="457200" y="457200"/>
            <a:ext cx="6248400" cy="5715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781800" y="1600200"/>
            <a:ext cx="1984248" cy="37338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81800" y="457200"/>
            <a:ext cx="19812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A2F2CF75-6D1A-43E8-BA9A-A899FA96E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46C67C5A-BDF3-4665-9E32-8C170EA23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ACEA4E67-9B8C-42A4-B68A-36E40AEB3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197C54B-DFAF-497E-86A9-97807334CE0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24883220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9400" y="457200"/>
            <a:ext cx="20574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457200"/>
            <a:ext cx="6019800" cy="55626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629400" y="1600200"/>
            <a:ext cx="2057400" cy="44196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FontTx/>
              <a:buNone/>
              <a:defRPr sz="16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70A24C54-1F1F-44D3-9A1D-63D6124603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251DFC1F-D588-4EE7-B416-3FDB786E0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1ED0ADB0-8141-4756-A8E2-7EF7DDD76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637EC3F5-D401-4C5D-BA1C-8E31B1E6BAB8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6058716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DEA90A20-97AF-43BC-A168-04D787F49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7715838F-4385-4ED6-8725-5584A11EF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6ACFF740-783F-4367-AFEA-95F6BCFDF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DCD3337-FB97-4EB3-9D6C-2859170F8034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28173321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CF1A8651-3AF1-481A-ACE9-52A5606A7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3E284182-B65E-49DB-9418-E84785FC1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97F8E0A5-7492-40C8-B5E7-39FAEA9A5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A26F638F-F36B-4B43-8CA6-215961854478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2585243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121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641475"/>
            <a:ext cx="3810000" cy="4454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41475"/>
            <a:ext cx="3810000" cy="2151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44938"/>
            <a:ext cx="3810000" cy="21510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23">
            <a:extLst>
              <a:ext uri="{FF2B5EF4-FFF2-40B4-BE49-F238E27FC236}">
                <a16:creationId xmlns:a16="http://schemas.microsoft.com/office/drawing/2014/main" id="{4D27A1C3-7E6D-4BCF-9815-59B7614D6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9">
            <a:extLst>
              <a:ext uri="{FF2B5EF4-FFF2-40B4-BE49-F238E27FC236}">
                <a16:creationId xmlns:a16="http://schemas.microsoft.com/office/drawing/2014/main" id="{1FA6A3B5-40B3-468E-A6B4-3F521E588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21">
            <a:extLst>
              <a:ext uri="{FF2B5EF4-FFF2-40B4-BE49-F238E27FC236}">
                <a16:creationId xmlns:a16="http://schemas.microsoft.com/office/drawing/2014/main" id="{AB8F0FA1-9D99-42A9-B5B7-CD63E2A69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2DF3D5E-6D69-4649-9B68-29D98F0285F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9891416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id="{2BA39D37-3141-4952-A637-D2DE1FEAE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2F799348-3188-45B1-9A24-597D564C6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id="{91F4525B-DF4F-497C-9C63-89C98F5BA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C47CE7C-4905-49D8-979C-10141801EA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226560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id="{5C8FE4C8-DA8B-4FB4-B021-5BF07F12C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40284552-77AA-42BC-A005-0B9C90B10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id="{F67044BE-559E-434A-8434-A98CC0A29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982649DB-2E29-450E-A823-80E376FDBD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9861904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13">
            <a:extLst>
              <a:ext uri="{FF2B5EF4-FFF2-40B4-BE49-F238E27FC236}">
                <a16:creationId xmlns:a16="http://schemas.microsoft.com/office/drawing/2014/main" id="{41717007-39D1-44F3-8BE5-545C3963F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1DA00989-8482-4A11-8CF6-78021842F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22">
            <a:extLst>
              <a:ext uri="{FF2B5EF4-FFF2-40B4-BE49-F238E27FC236}">
                <a16:creationId xmlns:a16="http://schemas.microsoft.com/office/drawing/2014/main" id="{1CDF259C-A5FB-449D-B2E7-473BFA6AF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A67DF3A2-04A4-4160-870E-9BDEF17990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673359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4EA23DC-9128-4A39-936B-CD3C0FA875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365875"/>
            <a:ext cx="1905000" cy="457200"/>
          </a:xfr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73659D7-9FB8-4356-9B03-B37677004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65875"/>
            <a:ext cx="2895600" cy="457200"/>
          </a:xfr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4A82EC-244D-4233-95CD-A502FFDD5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65875"/>
            <a:ext cx="1905000" cy="457200"/>
          </a:xfrm>
        </p:spPr>
        <p:txBody>
          <a:bodyPr/>
          <a:lstStyle>
            <a:lvl1pPr>
              <a:defRPr kumimoji="1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9B742F14-4575-4FF4-B3CF-26D44CF2B6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3399160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>
            <a:extLst>
              <a:ext uri="{FF2B5EF4-FFF2-40B4-BE49-F238E27FC236}">
                <a16:creationId xmlns:a16="http://schemas.microsoft.com/office/drawing/2014/main" id="{6C4B1D15-B0F4-484F-A5DF-B5A6C11AF8CE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93580979-5B0B-4679-B9F5-ABFB689742DA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7546C1B8-CB0D-4EE8-AED5-0CEA89D9BF85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62A41F73-BD2B-45EE-B827-EFEFAC0D05E5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10672EA2-DF4D-431B-8ED2-0ADF4DCAB8AF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8B2D28C0-9B47-443B-A537-7C66B288E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FA4926F4-B64B-4284-8F9D-A79BE1EDC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97911915-FDF6-471D-A6A6-D04EFCC5A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075A7B60-F73C-493D-9562-435064CE46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993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47B77413-92C0-499F-A1DC-EE19FD836A2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412BA00-BB76-4EEF-9DE1-6C038E7076E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DE9EC9BB-8F8E-4D73-A9CE-137839DF8E6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4A3153-1825-47AC-8211-84ECB56EC42D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07016433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>
            <a:extLst>
              <a:ext uri="{FF2B5EF4-FFF2-40B4-BE49-F238E27FC236}">
                <a16:creationId xmlns:a16="http://schemas.microsoft.com/office/drawing/2014/main" id="{ECFB015B-5DD7-4855-A8E5-57189FD4FEF2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42201647-4714-40FE-885E-9734C2345102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6BE94D5B-2EDA-4B08-8DB9-97B3A0E2A95D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10E9960C-46BD-4423-9F2A-5B454DBEDDB1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2143E23D-F6AA-4DFA-8639-D4BCEB9E77B1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900F24BE-DD10-4F1A-918A-B9A513772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61435CC7-0257-44FB-8EB5-078A98FB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A14BA01B-12ED-4C8D-ACF9-F28F6C142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6FB0A9E8-4C05-4DF4-B9DD-81EDB47C7223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3097479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B333FE14-4BDA-49F4-8C54-D7C4E2067AD3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5">
            <a:extLst>
              <a:ext uri="{FF2B5EF4-FFF2-40B4-BE49-F238E27FC236}">
                <a16:creationId xmlns:a16="http://schemas.microsoft.com/office/drawing/2014/main" id="{2676393C-FB58-4CE5-A64D-ABCEC49E7F6A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8090D6C1-268B-49C7-8318-2E15CD63072E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D5B29269-B171-44B7-AD15-6B6DFFCE18B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F91B458B-B401-4752-98E6-CF00245EE76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9">
            <a:extLst>
              <a:ext uri="{FF2B5EF4-FFF2-40B4-BE49-F238E27FC236}">
                <a16:creationId xmlns:a16="http://schemas.microsoft.com/office/drawing/2014/main" id="{C1F3E6E9-0B9B-41A5-AF6C-3E12577676DA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91196820-A538-4FB0-B7EA-53FD0D310AEC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олилиния 11">
            <a:extLst>
              <a:ext uri="{FF2B5EF4-FFF2-40B4-BE49-F238E27FC236}">
                <a16:creationId xmlns:a16="http://schemas.microsoft.com/office/drawing/2014/main" id="{BC7E8F7A-2AD9-4824-B384-736031772E84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0642F12D-CAD8-41A8-BFF1-47211C0DDEAB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EAAF377F-2293-41AC-A288-1CA5D2563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CE2FD7ED-7DAE-4297-9A41-9D42C99E2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FCA7DE3D-05B9-4B28-ABEA-F4F0B5BCCB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48E7E-1863-43B9-98AF-CE94528EEFA4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36673128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1B2A4A76-C146-45AA-A244-8A967AA43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5D7E6DDD-9E95-48E9-8F68-D6D03217E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0AB1EEB6-79FD-4509-BFEE-C52153D76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BB2CEE-8C91-45C2-8E2C-D1FCB5F7FC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42331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775E711-8449-478D-9CC7-38E525F9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4CBB677-94CA-43EE-BA78-D4F88252D4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752294C-28EC-4BC4-B96B-920D65476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1DCAD-FBC5-44DF-90A8-45C5359B4B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803245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>
            <a:extLst>
              <a:ext uri="{FF2B5EF4-FFF2-40B4-BE49-F238E27FC236}">
                <a16:creationId xmlns:a16="http://schemas.microsoft.com/office/drawing/2014/main" id="{21A83C89-040A-44B4-AA4F-2B6FED7E167C}"/>
              </a:ext>
            </a:extLst>
          </p:cNvPr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">
            <a:extLst>
              <a:ext uri="{FF2B5EF4-FFF2-40B4-BE49-F238E27FC236}">
                <a16:creationId xmlns:a16="http://schemas.microsoft.com/office/drawing/2014/main" id="{1480101B-C9FD-478D-987B-ACE7FB32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C945D142-88B7-4665-8704-78C3F4067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>
            <a:extLst>
              <a:ext uri="{FF2B5EF4-FFF2-40B4-BE49-F238E27FC236}">
                <a16:creationId xmlns:a16="http://schemas.microsoft.com/office/drawing/2014/main" id="{30265ADA-5AFA-4C23-A62E-4D4A17A6D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D0E3E95-C160-4C99-8FF8-72035EC89C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7207576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750485"/>
            <a:ext cx="35424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24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2" y="4033950"/>
            <a:ext cx="3543319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59621118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20614283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749631"/>
            <a:ext cx="40968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8069299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31746804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807408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F33F69B1-2DC1-4F21-B893-376D06729DC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1DA979E-FEBE-41C4-AC7D-D8320954266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AC81D78F-AFB6-4D64-8F48-7218B587C70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62F906-0B16-4AB9-9D3D-6D1A07CC285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24875849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0837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84139" y="6527802"/>
            <a:ext cx="8509701" cy="26605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reference her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21483" y="6140583"/>
            <a:ext cx="8172355" cy="342900"/>
          </a:xfrm>
        </p:spPr>
        <p:txBody>
          <a:bodyPr anchor="b"/>
          <a:lstStyle>
            <a:lvl1pPr marL="0" indent="0">
              <a:buNone/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8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sz="800" dirty="0">
                <a:solidFill>
                  <a:srgbClr val="82786F"/>
                </a:solidFill>
                <a:cs typeface="Verdana" panose="020B0604030504040204" pitchFamily="34" charset="0"/>
              </a:rPr>
              <a:t>Footnote (Verdana 8)</a:t>
            </a:r>
          </a:p>
        </p:txBody>
      </p:sp>
    </p:spTree>
    <p:extLst>
      <p:ext uri="{BB962C8B-B14F-4D97-AF65-F5344CB8AC3E}">
        <p14:creationId xmlns:p14="http://schemas.microsoft.com/office/powerpoint/2010/main" val="80124890"/>
      </p:ext>
    </p:extLst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 marL="536561" indent="-271457">
              <a:buClr>
                <a:schemeClr val="accent1"/>
              </a:buClr>
              <a:buFont typeface="Verdana" panose="020B0604030504040204" pitchFamily="34" charset="0"/>
              <a:buChar char="–"/>
              <a:defRPr>
                <a:solidFill>
                  <a:schemeClr val="accent2"/>
                </a:solidFill>
              </a:defRPr>
            </a:lvl2pPr>
            <a:lvl3pPr marL="808018" indent="-271457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accent2"/>
                </a:solidFill>
              </a:defRPr>
            </a:lvl3pPr>
            <a:lvl4pPr>
              <a:buClr>
                <a:srgbClr val="C00000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C00000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6640377"/>
            <a:ext cx="9144000" cy="217625"/>
          </a:xfrm>
        </p:spPr>
        <p:txBody>
          <a:bodyPr lIns="90000" tIns="46800" rIns="90000" bIns="46800" anchor="b" anchorCtr="0">
            <a:spAutoFit/>
          </a:bodyPr>
          <a:lstStyle>
            <a:lvl1pPr marL="0" indent="0">
              <a:buNone/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16800" y="6344387"/>
            <a:ext cx="8510400" cy="217625"/>
          </a:xfrm>
        </p:spPr>
        <p:txBody>
          <a:bodyPr wrap="square" lIns="90000" tIns="46800" rIns="90000" bIns="46800" anchor="b" anchorCtr="0">
            <a:spAutoFit/>
          </a:bodyPr>
          <a:lstStyle>
            <a:lvl1pPr marL="0" indent="0">
              <a:buNone/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35571517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168680" y="5669876"/>
            <a:ext cx="7590407" cy="9274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378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852" y="6099936"/>
            <a:ext cx="7059613" cy="497417"/>
          </a:xfrm>
        </p:spPr>
        <p:txBody>
          <a:bodyPr anchor="b" anchorCtr="0"/>
          <a:lstStyle>
            <a:lvl1pPr marL="0" indent="0">
              <a:buNone/>
              <a:defRPr sz="800">
                <a:solidFill>
                  <a:srgbClr val="82786F"/>
                </a:solidFill>
              </a:defRPr>
            </a:lvl1pPr>
            <a:lvl2pPr marL="541325" indent="0">
              <a:buNone/>
              <a:defRPr/>
            </a:lvl2pPr>
            <a:lvl3pPr marL="1076298" indent="0">
              <a:buNone/>
              <a:defRPr/>
            </a:lvl3pPr>
            <a:lvl4pPr marL="1616035" indent="0">
              <a:buNone/>
              <a:defRPr/>
            </a:lvl4pPr>
            <a:lvl5pPr marL="2155771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5"/>
            <a:ext cx="8510400" cy="3647868"/>
          </a:xfrm>
        </p:spPr>
        <p:txBody>
          <a:bodyPr/>
          <a:lstStyle>
            <a:lvl1pPr>
              <a:buClr>
                <a:srgbClr val="009FDA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E97F20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00196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82786F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965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3225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715" y="469004"/>
            <a:ext cx="8241961" cy="10042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816770" y="6331817"/>
            <a:ext cx="194578" cy="135467"/>
          </a:xfrm>
          <a:prstGeom prst="rect">
            <a:avLst/>
          </a:prstGeom>
        </p:spPr>
        <p:txBody>
          <a:bodyPr lIns="121912" tIns="60956" rIns="121912" bIns="60956"/>
          <a:lstStyle>
            <a:lvl1pPr defTabSz="685766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001965"/>
                </a:solidFill>
                <a:cs typeface="Arial" charset="0"/>
              </a:rPr>
              <a:pPr>
                <a:defRPr/>
              </a:pPr>
              <a:t>‹#›</a:t>
            </a:fld>
            <a:endParaRPr lang="en-GB" dirty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93713" y="1511813"/>
            <a:ext cx="8224012" cy="310641"/>
          </a:xfr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3711" y="1822454"/>
            <a:ext cx="8235950" cy="4108449"/>
          </a:xfrm>
        </p:spPr>
        <p:txBody>
          <a:bodyPr/>
          <a:lstStyle>
            <a:lvl2pPr marL="169851" indent="-169851">
              <a:buFont typeface="Symbol" panose="05050102010706020507" pitchFamily="18" charset="2"/>
              <a:buChar char="·"/>
              <a:defRPr/>
            </a:lvl2pPr>
            <a:lvl3pPr marL="365098" indent="-176200">
              <a:buFont typeface="Arial" panose="020B0604020202020204" pitchFamily="34" charset="0"/>
              <a:buChar char="‒"/>
              <a:defRPr/>
            </a:lvl3pPr>
            <a:lvl4pPr marL="538123" indent="-158738">
              <a:buFont typeface="Wingdings" panose="05000000000000000000" pitchFamily="2" charset="2"/>
              <a:buChar char="§"/>
              <a:defRPr/>
            </a:lvl4pPr>
            <a:lvl5pPr marL="663526" indent="-117466">
              <a:defRPr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704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ounded Rectangle 3"/>
          <p:cNvSpPr/>
          <p:nvPr userDrawn="1"/>
        </p:nvSpPr>
        <p:spPr>
          <a:xfrm>
            <a:off x="344489" y="304617"/>
            <a:ext cx="1460311" cy="1883391"/>
          </a:xfrm>
          <a:prstGeom prst="roundRect">
            <a:avLst>
              <a:gd name="adj" fmla="val 7005"/>
            </a:avLst>
          </a:prstGeom>
          <a:noFill/>
          <a:ln w="6350">
            <a:gradFill flip="none" rotWithShape="1">
              <a:gsLst>
                <a:gs pos="0">
                  <a:schemeClr val="accent2"/>
                </a:gs>
                <a:gs pos="30000">
                  <a:schemeClr val="accent2">
                    <a:alpha val="0"/>
                  </a:schemeClr>
                </a:gs>
              </a:gsLst>
              <a:lin ang="2700000" scaled="1"/>
              <a:tileRect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8872" tIns="0" rIns="0" bIns="0" numCol="1" anchor="ctr" anchorCtr="0" compatLnSpc="1">
            <a:prstTxWarp prst="textNoShape">
              <a:avLst/>
            </a:prstTxWarp>
          </a:bodyPr>
          <a:lstStyle/>
          <a:p>
            <a:pPr defTabSz="877888"/>
            <a:endParaRPr lang="en-US" sz="600">
              <a:solidFill>
                <a:srgbClr val="636466"/>
              </a:solidFill>
            </a:endParaRPr>
          </a:p>
        </p:txBody>
      </p:sp>
      <p:sp>
        <p:nvSpPr>
          <p:cNvPr id="5" name="Rounded Rectangle 4"/>
          <p:cNvSpPr/>
          <p:nvPr userDrawn="1"/>
        </p:nvSpPr>
        <p:spPr>
          <a:xfrm flipH="1">
            <a:off x="7367778" y="304615"/>
            <a:ext cx="1460311" cy="1883391"/>
          </a:xfrm>
          <a:prstGeom prst="roundRect">
            <a:avLst>
              <a:gd name="adj" fmla="val 7005"/>
            </a:avLst>
          </a:prstGeom>
          <a:noFill/>
          <a:ln w="6350">
            <a:gradFill flip="none" rotWithShape="1">
              <a:gsLst>
                <a:gs pos="0">
                  <a:schemeClr val="accent2"/>
                </a:gs>
                <a:gs pos="30000">
                  <a:schemeClr val="accent2">
                    <a:alpha val="0"/>
                  </a:schemeClr>
                </a:gs>
              </a:gsLst>
              <a:lin ang="2700000" scaled="1"/>
              <a:tileRect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8872" tIns="0" rIns="0" bIns="0" numCol="1" anchor="ctr" anchorCtr="0" compatLnSpc="1">
            <a:prstTxWarp prst="textNoShape">
              <a:avLst/>
            </a:prstTxWarp>
          </a:bodyPr>
          <a:lstStyle/>
          <a:p>
            <a:pPr defTabSz="877888"/>
            <a:endParaRPr lang="en-US" sz="600">
              <a:solidFill>
                <a:srgbClr val="6364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83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flythrough/>
      </p:transition>
    </mc:Choice>
    <mc:Fallback xmlns="">
      <p:transition spd="slow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3850" y="6099933"/>
            <a:ext cx="8496300" cy="497417"/>
          </a:xfrm>
        </p:spPr>
        <p:txBody>
          <a:bodyPr anchor="b" anchorCtr="0"/>
          <a:lstStyle>
            <a:lvl1pPr marL="0" indent="0">
              <a:buNone/>
              <a:defRPr sz="800">
                <a:solidFill>
                  <a:srgbClr val="82786F"/>
                </a:solidFill>
              </a:defRPr>
            </a:lvl1pPr>
            <a:lvl2pPr marL="541338" indent="0">
              <a:buNone/>
              <a:defRPr/>
            </a:lvl2pPr>
            <a:lvl3pPr marL="1076325" indent="0">
              <a:buNone/>
              <a:defRPr/>
            </a:lvl3pPr>
            <a:lvl4pPr marL="1616075" indent="0">
              <a:buNone/>
              <a:defRPr/>
            </a:lvl4pPr>
            <a:lvl5pPr marL="215582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52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GB" sz="28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1" y="5877273"/>
            <a:ext cx="7462838" cy="870619"/>
          </a:xfrm>
        </p:spPr>
        <p:txBody>
          <a:bodyPr anchor="b"/>
          <a:lstStyle>
            <a:lvl1pPr marL="0" indent="0">
              <a:lnSpc>
                <a:spcPts val="675"/>
              </a:lnSpc>
              <a:spcBef>
                <a:spcPts val="0"/>
              </a:spcBef>
              <a:buNone/>
              <a:defRPr sz="67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26567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84138" y="6527803"/>
            <a:ext cx="8509701" cy="26605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reference her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21485" y="6140583"/>
            <a:ext cx="8172355" cy="342900"/>
          </a:xfrm>
        </p:spPr>
        <p:txBody>
          <a:bodyPr anchor="b"/>
          <a:lstStyle>
            <a:lvl1pPr marL="0" indent="0">
              <a:buNone/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8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80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sz="800" dirty="0">
                <a:solidFill>
                  <a:srgbClr val="82786F"/>
                </a:solidFill>
                <a:cs typeface="Verdana" panose="020B0604030504040204" pitchFamily="34" charset="0"/>
              </a:rPr>
              <a:t>Footnote (Verdana 8)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687919"/>
            <a:ext cx="8509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4778561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B304985-AD85-41B4-9E23-F462E8DEB1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3066" y="6396385"/>
            <a:ext cx="6482234" cy="222383"/>
          </a:xfrm>
        </p:spPr>
        <p:txBody>
          <a:bodyPr lIns="72000" anchor="b"/>
          <a:lstStyle>
            <a:lvl1pPr marL="0" indent="0">
              <a:buNone/>
              <a:defRPr sz="800">
                <a:solidFill>
                  <a:srgbClr val="82786F"/>
                </a:solidFill>
              </a:defRPr>
            </a:lvl1pPr>
            <a:lvl2pPr marL="265100" indent="0">
              <a:buNone/>
              <a:defRPr sz="800"/>
            </a:lvl2pPr>
            <a:lvl3pPr marL="536548" indent="0">
              <a:buNone/>
              <a:defRPr sz="800"/>
            </a:lvl3pPr>
            <a:lvl4pPr marL="807998" indent="0">
              <a:buNone/>
              <a:defRPr sz="800"/>
            </a:lvl4pPr>
            <a:lvl5pPr marL="1073096" indent="0">
              <a:buNone/>
              <a:defRPr sz="800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98264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5F279990-C407-4ECC-A579-7B444E91DB9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0DEF398C-35DD-4C19-B2A6-D4EF628D163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437BDD0E-3FCD-4DB3-B8F2-25A6F3DF659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F8447-DA63-47E6-91D1-CAF6F6CAD92E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62546252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509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38DC1-8D6D-4105-B58C-130576FE0072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07352A-862D-4CE6-8D79-FAB2090C0C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40949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91281" tIns="45643" rIns="91281" bIns="45643"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870779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9184" y="6148615"/>
            <a:ext cx="8485632" cy="215444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800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800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800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800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637674"/>
            <a:ext cx="8814816" cy="216534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265112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2pPr>
            <a:lvl3pPr marL="536575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3pPr>
            <a:lvl4pPr marL="808038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4pPr>
            <a:lvl5pPr marL="107315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33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2" y="5877638"/>
            <a:ext cx="7727855" cy="582431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rgbClr val="AEA79F"/>
                </a:solidFill>
              </a:defRPr>
            </a:lvl1pPr>
            <a:lvl2pPr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26839" y="125269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9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/>
              <a:t>Sema NASH GEP mee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55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51"/>
            <a:ext cx="85104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795528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9" y="138545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  <a:cs typeface="Arial" pitchFamily="34" charset="0"/>
              </a:rPr>
              <a:t>Presentation titl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38545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  <a:cs typeface="Arial" pitchFamily="34" charset="0"/>
              </a:rPr>
              <a:t>Dat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9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4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1678" y="5993684"/>
            <a:ext cx="6105525" cy="654960"/>
          </a:xfrm>
        </p:spPr>
        <p:txBody>
          <a:bodyPr anchor="b">
            <a:normAutofit/>
          </a:bodyPr>
          <a:lstStyle>
            <a:lvl1pPr marL="0" indent="0">
              <a:buNone/>
              <a:defRPr sz="700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1172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9" y="138545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  <a:cs typeface="Arial" pitchFamily="34" charset="0"/>
              </a:rPr>
              <a:t>Presentation titl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38545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  <a:cs typeface="Arial" pitchFamily="34" charset="0"/>
              </a:rPr>
              <a:t>Dat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9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4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1678" y="5993684"/>
            <a:ext cx="6105525" cy="654960"/>
          </a:xfrm>
        </p:spPr>
        <p:txBody>
          <a:bodyPr anchor="b">
            <a:normAutofit/>
          </a:bodyPr>
          <a:lstStyle>
            <a:lvl1pPr marL="0" indent="0">
              <a:buNone/>
              <a:defRPr sz="700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738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E80C985A-70D8-4879-82BD-389BE6A34751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6E2F0E56-5459-46A8-B7FE-2A0CCC69B7E8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9FF736CE-F5BB-4AD3-9F67-6B11A844CC11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AB427226-8EAB-4689-A675-AAA5DDD12ABE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47524C55-F8E4-4280-A909-63BE967D054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0874C0E4-DE3F-4423-A72E-9AD59ED1F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0256261B-5DDB-4D6E-BF5B-0AD99433B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A2FD1EA8-A7E8-4215-9202-0C56BED4A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0332CF8-C67D-4783-B7DA-78B2A3DAC5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1898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D5AFC181-39B6-4D99-A6F7-9BAC591868DF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70312C6E-7D50-4E2E-BD60-9CA69C160A89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D28869D1-74A3-43A1-BF12-DB36111A83E5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5BAAF7FC-F3B5-4A2E-9650-5428D8B4DD5A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5703540C-CA73-4FBB-BC4A-07F6CB840E6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1D2AAD88-722F-4871-AD8A-A0918DBDC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26633C0-900E-4B34-8116-523577D4B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F76FE77E-E075-4291-9063-F9330DD54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F4C781-E047-4B49-9EA0-71DAD9DECCC3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626232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87711D0B-85D3-4429-96D2-D7AC50C1570E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4CC76D3A-20A3-45EF-A6C6-FF368064907C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EAE3225B-717B-456B-BA50-5B9244EFB538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73BC7C60-81A6-4397-AEB8-288B658B47BF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9A12E87F-CC71-4D4C-A162-9D139794D42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Times New Roman" pitchFamily="18" charset="0"/>
                <a:cs typeface="+mn-cs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B5869273-8D9B-46CA-90CE-DE90D2CCA261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F08A4E18-4C77-4408-AF42-D03C0BC359DB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679E6356-1FA0-4DF5-86F4-B25639723544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473ABC00-29A4-41F3-8172-E8A738FCA634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EE4E581A-11D2-499A-964A-D16283304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35B0C400-20FC-4C0F-9EE7-55DB093A3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D0BC13FF-39DA-4FCF-A53B-5A7BD4694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E210DE1-20E1-4FB8-BCAA-74422B94104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7021287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9F8A4083-9A4C-4C42-A647-D85F47B4600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14BAD776-BFBA-41E1-8BA4-A9D45D684C1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358AEDD4-8FE5-4685-9BE7-750386592AB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6F0CEC-77DE-4699-B15D-F0ABB78F8278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29731609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083810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8839470"/>
      </p:ext>
    </p:extLst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85300" y="6305488"/>
            <a:ext cx="7020000" cy="504000"/>
          </a:xfrm>
        </p:spPr>
        <p:txBody>
          <a:bodyPr/>
          <a:lstStyle>
            <a:lvl1pPr indent="0">
              <a:lnSpc>
                <a:spcPct val="100000"/>
              </a:lnSpc>
              <a:buNone/>
              <a:defRPr sz="900"/>
            </a:lvl1pPr>
            <a:lvl2pPr indent="0">
              <a:lnSpc>
                <a:spcPct val="100000"/>
              </a:lnSpc>
              <a:buNone/>
              <a:defRPr/>
            </a:lvl2pPr>
            <a:lvl3pPr indent="0">
              <a:lnSpc>
                <a:spcPct val="100000"/>
              </a:lnSpc>
              <a:buNone/>
              <a:defRPr/>
            </a:lvl3pPr>
            <a:lvl4pPr indent="0">
              <a:lnSpc>
                <a:spcPct val="100000"/>
              </a:lnSpc>
              <a:buNone/>
              <a:defRPr/>
            </a:lvl4pPr>
            <a:lvl5pPr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66910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>
            <a:extLst>
              <a:ext uri="{FF2B5EF4-FFF2-40B4-BE49-F238E27FC236}">
                <a16:creationId xmlns:a16="http://schemas.microsoft.com/office/drawing/2014/main" id="{237FC6E2-B367-4EEE-AFF6-7DDA7C69E1F0}"/>
              </a:ext>
            </a:extLst>
          </p:cNvPr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">
            <a:extLst>
              <a:ext uri="{FF2B5EF4-FFF2-40B4-BE49-F238E27FC236}">
                <a16:creationId xmlns:a16="http://schemas.microsoft.com/office/drawing/2014/main" id="{46DFD325-621D-4FD1-92C1-EF72932B9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C9476966-EF72-423A-A55C-81F80820F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>
            <a:extLst>
              <a:ext uri="{FF2B5EF4-FFF2-40B4-BE49-F238E27FC236}">
                <a16:creationId xmlns:a16="http://schemas.microsoft.com/office/drawing/2014/main" id="{0DC58BB8-B3E8-44AE-BA7D-69E03C767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1D08D33-87D1-456C-B648-0538006B71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3004457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FEEBEAEB-FE27-4FAD-AF55-E046DFCE5B94}"/>
              </a:ext>
            </a:extLst>
          </p:cNvPr>
          <p:cNvCxnSpPr/>
          <p:nvPr/>
        </p:nvCxnSpPr>
        <p:spPr>
          <a:xfrm>
            <a:off x="146367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573792A3-322E-42D6-A3C3-0F3E0BC6AE1A}"/>
              </a:ext>
            </a:extLst>
          </p:cNvPr>
          <p:cNvCxnSpPr/>
          <p:nvPr/>
        </p:nvCxnSpPr>
        <p:spPr>
          <a:xfrm>
            <a:off x="470852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вал 5">
            <a:extLst>
              <a:ext uri="{FF2B5EF4-FFF2-40B4-BE49-F238E27FC236}">
                <a16:creationId xmlns:a16="http://schemas.microsoft.com/office/drawing/2014/main" id="{AB5C7E88-C1EF-4FA0-A367-5398993C5DE8}"/>
              </a:ext>
            </a:extLst>
          </p:cNvPr>
          <p:cNvSpPr/>
          <p:nvPr/>
        </p:nvSpPr>
        <p:spPr>
          <a:xfrm>
            <a:off x="4540250" y="3525838"/>
            <a:ext cx="46038" cy="46037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699804"/>
            <a:ext cx="830580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457200" y="1433732"/>
            <a:ext cx="8305800" cy="1981200"/>
          </a:xfrm>
          <a:ln w="6350" cap="rnd">
            <a:noFill/>
          </a:ln>
        </p:spPr>
        <p:txBody>
          <a:bodyPr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Дата 14">
            <a:extLst>
              <a:ext uri="{FF2B5EF4-FFF2-40B4-BE49-F238E27FC236}">
                <a16:creationId xmlns:a16="http://schemas.microsoft.com/office/drawing/2014/main" id="{AD15FEEB-6525-458F-94B9-6E56CC8F1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15">
            <a:extLst>
              <a:ext uri="{FF2B5EF4-FFF2-40B4-BE49-F238E27FC236}">
                <a16:creationId xmlns:a16="http://schemas.microsoft.com/office/drawing/2014/main" id="{721103F3-20EF-4AED-871A-21C3E86787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44F39E5F-3D2C-4787-9E3B-D144CF56B4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Нижний колонтитул 16">
            <a:extLst>
              <a:ext uri="{FF2B5EF4-FFF2-40B4-BE49-F238E27FC236}">
                <a16:creationId xmlns:a16="http://schemas.microsoft.com/office/drawing/2014/main" id="{08627612-A9C2-4A15-B2F0-306DBD1991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33677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одержимое 8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FDF33406-E1EA-4296-BC83-333EA25472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F2A3473C-15A6-404E-AAD6-5AC91D5DA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209659D8-7082-48A7-AAFF-A4E06CCED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05F8D42A-6F4B-4473-AEDD-5DA4ADC29B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55596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0166340-4D5F-4EE7-A12B-C2207314A125}"/>
              </a:ext>
            </a:extLst>
          </p:cNvPr>
          <p:cNvCxnSpPr/>
          <p:nvPr/>
        </p:nvCxnSpPr>
        <p:spPr>
          <a:xfrm>
            <a:off x="685800" y="4916488"/>
            <a:ext cx="7924800" cy="4762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924800" cy="13716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48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4958864"/>
            <a:ext cx="7924800" cy="984736"/>
          </a:xfrm>
        </p:spPr>
        <p:txBody>
          <a:bodyPr/>
          <a:lstStyle>
            <a:lvl1pPr marL="0" indent="0">
              <a:buNone/>
              <a:defRPr sz="2000" spc="10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E84F82B-8688-4F57-A9C8-A763513F2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6696147-9490-4955-BF65-11068B53A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4313D9E-06F1-47D3-8593-3BEA46EF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F067D682-2A87-4A36-BDF1-9200309F56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1595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59936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59936" cy="457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91F648B2-F9EA-4968-83F7-EC782265F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08EC5A69-F456-44DE-88A4-AF41A00E9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D2EB5574-A73A-4614-B4D9-30B868A57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C54A904B-B5FD-4C61-A15C-874F89825F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87679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DBEAC90-5E5D-44A6-9E42-0E8511788B97}"/>
              </a:ext>
            </a:extLst>
          </p:cNvPr>
          <p:cNvCxnSpPr/>
          <p:nvPr/>
        </p:nvCxnSpPr>
        <p:spPr>
          <a:xfrm>
            <a:off x="563563" y="2179638"/>
            <a:ext cx="3748087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9725A4A-7DF8-473C-B0E3-66514E0005C1}"/>
              </a:ext>
            </a:extLst>
          </p:cNvPr>
          <p:cNvCxnSpPr/>
          <p:nvPr/>
        </p:nvCxnSpPr>
        <p:spPr>
          <a:xfrm>
            <a:off x="4754563" y="2179638"/>
            <a:ext cx="3749675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Содержимое 31"/>
          <p:cNvSpPr>
            <a:spLocks noGrp="1"/>
          </p:cNvSpPr>
          <p:nvPr>
            <p:ph sz="half" idx="2"/>
          </p:nvPr>
        </p:nvSpPr>
        <p:spPr>
          <a:xfrm>
            <a:off x="457200" y="2201896"/>
            <a:ext cx="4038600" cy="39136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34" name="Содержимое 33"/>
          <p:cNvSpPr>
            <a:spLocks noGrp="1"/>
          </p:cNvSpPr>
          <p:nvPr>
            <p:ph sz="quarter" idx="4"/>
          </p:nvPr>
        </p:nvSpPr>
        <p:spPr>
          <a:xfrm>
            <a:off x="4649788" y="2201896"/>
            <a:ext cx="4038600" cy="39136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4648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 baseline="0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7165A74-95EC-4FE7-ABA4-A30F9AA2A5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ECE8549E-24BC-4730-B0B3-CD3ABB8AF3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Нижний колонтитул 7">
            <a:extLst>
              <a:ext uri="{FF2B5EF4-FFF2-40B4-BE49-F238E27FC236}">
                <a16:creationId xmlns:a16="http://schemas.microsoft.com/office/drawing/2014/main" id="{533250C0-5FB3-43CD-8C2E-526C11D58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Дата 6">
            <a:extLst>
              <a:ext uri="{FF2B5EF4-FFF2-40B4-BE49-F238E27FC236}">
                <a16:creationId xmlns:a16="http://schemas.microsoft.com/office/drawing/2014/main" id="{DD8429B1-6B56-46F6-B950-35D7990D8BD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98244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3">
            <a:extLst>
              <a:ext uri="{FF2B5EF4-FFF2-40B4-BE49-F238E27FC236}">
                <a16:creationId xmlns:a16="http://schemas.microsoft.com/office/drawing/2014/main" id="{CFCAA4F8-F955-4E30-A7C4-FC2D2EF2B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ижний колонтитул 9">
            <a:extLst>
              <a:ext uri="{FF2B5EF4-FFF2-40B4-BE49-F238E27FC236}">
                <a16:creationId xmlns:a16="http://schemas.microsoft.com/office/drawing/2014/main" id="{520B4670-3F08-4BD3-B8AD-AA764BED8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омер слайда 21">
            <a:extLst>
              <a:ext uri="{FF2B5EF4-FFF2-40B4-BE49-F238E27FC236}">
                <a16:creationId xmlns:a16="http://schemas.microsoft.com/office/drawing/2014/main" id="{BCCAFFA8-36C0-4CBF-9407-99438502B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2CA54324-E985-4BDA-BD2D-222CFF8C7E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996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B26C8167-6382-46C6-BBAF-67D27F8CE70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80C7CCA8-30A6-4637-8FB3-AEFE6291086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57F8037E-312A-4C40-A08C-4876144A5FA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382C0D-9E68-4888-B8E5-0B05BF69A50E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7372769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3">
            <a:extLst>
              <a:ext uri="{FF2B5EF4-FFF2-40B4-BE49-F238E27FC236}">
                <a16:creationId xmlns:a16="http://schemas.microsoft.com/office/drawing/2014/main" id="{CD4E5F6A-03F7-4045-A1C9-D56706012A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Нижний колонтитул 9">
            <a:extLst>
              <a:ext uri="{FF2B5EF4-FFF2-40B4-BE49-F238E27FC236}">
                <a16:creationId xmlns:a16="http://schemas.microsoft.com/office/drawing/2014/main" id="{57BC74BB-57FE-4F00-9A6E-B7A4C1975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омер слайда 21">
            <a:extLst>
              <a:ext uri="{FF2B5EF4-FFF2-40B4-BE49-F238E27FC236}">
                <a16:creationId xmlns:a16="http://schemas.microsoft.com/office/drawing/2014/main" id="{BA51F97B-9407-4506-BD9C-3855990C7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24E49668-2408-49DF-977E-24D2244650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61640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одержимое 28"/>
          <p:cNvSpPr>
            <a:spLocks noGrp="1"/>
          </p:cNvSpPr>
          <p:nvPr>
            <p:ph sz="quarter" idx="1"/>
          </p:nvPr>
        </p:nvSpPr>
        <p:spPr>
          <a:xfrm>
            <a:off x="457200" y="457200"/>
            <a:ext cx="6248400" cy="5715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781800" y="1600200"/>
            <a:ext cx="1984248" cy="37338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81800" y="457200"/>
            <a:ext cx="19812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B70350A5-0815-4A18-A27C-B1623FE52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532926C8-DDA0-4245-9650-9954C37ED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7CE3721A-BCC8-406B-9D5E-862394E04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AD9601DE-DBBB-4603-A16F-BAD582903F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96868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9400" y="457200"/>
            <a:ext cx="20574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457200"/>
            <a:ext cx="6019800" cy="55626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629400" y="1600200"/>
            <a:ext cx="2057400" cy="44196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FontTx/>
              <a:buNone/>
              <a:defRPr sz="16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23">
            <a:extLst>
              <a:ext uri="{FF2B5EF4-FFF2-40B4-BE49-F238E27FC236}">
                <a16:creationId xmlns:a16="http://schemas.microsoft.com/office/drawing/2014/main" id="{374D7C75-0C60-457A-9F87-6BBEB3DD8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9">
            <a:extLst>
              <a:ext uri="{FF2B5EF4-FFF2-40B4-BE49-F238E27FC236}">
                <a16:creationId xmlns:a16="http://schemas.microsoft.com/office/drawing/2014/main" id="{5C17F547-1931-4FDF-B8B1-B0CDE9F18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21">
            <a:extLst>
              <a:ext uri="{FF2B5EF4-FFF2-40B4-BE49-F238E27FC236}">
                <a16:creationId xmlns:a16="http://schemas.microsoft.com/office/drawing/2014/main" id="{49F43B2E-0DB2-4E6B-8427-C4CFA6A8C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79615B9D-2CAB-4114-854B-F988BDF80D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21112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6CAE6C52-9A53-4470-8799-C6E281602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4E91E6C5-2163-47D0-A04B-9A0138A2A8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E913C83D-31B0-4F18-B051-E76AEC304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ADC7D530-9AAB-403E-92D2-8E0A8DEE1A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29634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23">
            <a:extLst>
              <a:ext uri="{FF2B5EF4-FFF2-40B4-BE49-F238E27FC236}">
                <a16:creationId xmlns:a16="http://schemas.microsoft.com/office/drawing/2014/main" id="{C61806B6-EB81-453D-820E-7593C1140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ижний колонтитул 9">
            <a:extLst>
              <a:ext uri="{FF2B5EF4-FFF2-40B4-BE49-F238E27FC236}">
                <a16:creationId xmlns:a16="http://schemas.microsoft.com/office/drawing/2014/main" id="{6CD413A5-00E6-4F63-BD16-3322865FA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67AEB315-1B04-4BA4-989D-1B8B0A92D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1EF60F5F-A57F-4038-9D63-8D6467267F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70642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121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641475"/>
            <a:ext cx="3810000" cy="4454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41475"/>
            <a:ext cx="3810000" cy="2151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44938"/>
            <a:ext cx="3810000" cy="21510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23">
            <a:extLst>
              <a:ext uri="{FF2B5EF4-FFF2-40B4-BE49-F238E27FC236}">
                <a16:creationId xmlns:a16="http://schemas.microsoft.com/office/drawing/2014/main" id="{1AA34859-605D-4C64-9E2E-3EB23A4BA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9">
            <a:extLst>
              <a:ext uri="{FF2B5EF4-FFF2-40B4-BE49-F238E27FC236}">
                <a16:creationId xmlns:a16="http://schemas.microsoft.com/office/drawing/2014/main" id="{3F70CBAB-9F27-4BC8-B3EC-73D617C9A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21">
            <a:extLst>
              <a:ext uri="{FF2B5EF4-FFF2-40B4-BE49-F238E27FC236}">
                <a16:creationId xmlns:a16="http://schemas.microsoft.com/office/drawing/2014/main" id="{6C66F265-4912-4503-ACA1-BE9F5303B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4F539C5B-EBC3-4811-AA47-07F977CB4F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86293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id="{252A202B-7289-4E4F-A301-6AFB7FDD18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965A52C1-356D-40A9-85B6-77D6873E1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id="{B89E90CC-1CB3-4A85-921E-A7A002815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5D3D408D-99FC-476B-BA60-E64068CDFA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89310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13">
            <a:extLst>
              <a:ext uri="{FF2B5EF4-FFF2-40B4-BE49-F238E27FC236}">
                <a16:creationId xmlns:a16="http://schemas.microsoft.com/office/drawing/2014/main" id="{68B54506-F756-4B1C-BCBE-04095D73D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2">
            <a:extLst>
              <a:ext uri="{FF2B5EF4-FFF2-40B4-BE49-F238E27FC236}">
                <a16:creationId xmlns:a16="http://schemas.microsoft.com/office/drawing/2014/main" id="{A10A44B5-9D69-474F-BDEF-476E0F286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>
            <a:extLst>
              <a:ext uri="{FF2B5EF4-FFF2-40B4-BE49-F238E27FC236}">
                <a16:creationId xmlns:a16="http://schemas.microsoft.com/office/drawing/2014/main" id="{B764A37B-27AF-44C0-8725-7CBEB26F6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26EA3D3A-F827-4F55-B650-2FBE3C0849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73470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13">
            <a:extLst>
              <a:ext uri="{FF2B5EF4-FFF2-40B4-BE49-F238E27FC236}">
                <a16:creationId xmlns:a16="http://schemas.microsoft.com/office/drawing/2014/main" id="{4E54B484-5574-4E6D-9286-D20C85E9A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2">
            <a:extLst>
              <a:ext uri="{FF2B5EF4-FFF2-40B4-BE49-F238E27FC236}">
                <a16:creationId xmlns:a16="http://schemas.microsoft.com/office/drawing/2014/main" id="{812B8B4D-A453-4C93-B536-C58C7FC78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22">
            <a:extLst>
              <a:ext uri="{FF2B5EF4-FFF2-40B4-BE49-F238E27FC236}">
                <a16:creationId xmlns:a16="http://schemas.microsoft.com/office/drawing/2014/main" id="{D4B34C7F-E2A6-47FB-9087-2BEF9E9E5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defRPr/>
            </a:pPr>
            <a:fld id="{B5A4AD93-CE88-4F97-ABE9-7B1AE8D50F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27217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D4519D-385C-469B-AA57-E4D6B83FF7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365875"/>
            <a:ext cx="1905000" cy="457200"/>
          </a:xfr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CFF614D-0082-4AAD-BB0C-E0310E2E7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65875"/>
            <a:ext cx="2895600" cy="457200"/>
          </a:xfr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047A18-2BE1-4C7A-ADE8-2C3147199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65875"/>
            <a:ext cx="1905000" cy="457200"/>
          </a:xfr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fld id="{B187099F-EC1D-4B7F-BCAD-B2BF7E64C8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420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63F6912A-24A1-4BD8-8E10-80AE06B4A6D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869DCB6-E620-40A9-B6CC-CA4BECD8311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54EB800B-15E7-4C52-A690-519A35B41ED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2AF8C-4CDB-4CEC-A023-7002C3B70630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90278988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EE61AB-8BFB-4441-8B98-830B070C06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4C02D-4FF8-44FE-A28D-0029ADA64690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41A21-D67F-42C6-869A-EEBC47471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0E41E5-5615-4A11-94AF-9A91AC0CD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1BD514-53BB-426A-9579-E3C29F917D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91482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F21394-655E-40BE-B049-24214740D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6455F-675A-4E7F-9463-7EEC62DB888E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A8CA7F-55EF-4191-834C-F1969F3CE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974B48-2669-4819-BC10-9E4B3762F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B9A185-D3A0-4AD9-B018-266A2551CC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6509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C0D7FA-3CD2-40AC-8254-937678F41F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7923E1-BE90-44FB-AE16-D32EA5CA4148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EFA3C-8827-47F2-8AF0-AB149CC41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40EED-181F-4ED5-8D3A-CD300936B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833AEB-9701-418F-918F-285B7A1B29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06441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C751672-6B26-441F-B0D9-0CFFB86A9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F91BC-C62B-4292-928D-4ECADC1CA8B1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18A6B3C-4310-4685-B5C9-C42466B80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9AB0B38-C372-4C6B-865E-52DF8B929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2983A5-2A7B-42AE-87DC-6AF3175C6A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31968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28C96F2-0FDD-480F-AB4A-03A2C1B4F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4C6217-364F-4132-8EC9-5C00206BB178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32A7A6A-2982-4797-A49C-E6F350370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92DFB78-ECCE-4DD7-8377-34F660ED0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DD0AA-E301-4582-B2A7-9A4C042D44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02856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2B9002F-C772-4554-A052-6C73A55908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5F699-4F3E-4422-B104-78F583B378D5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21E9B04-0525-4FF4-990C-9BB4BB25C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B5C3253-9722-479B-A857-026FA00CC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224301-CE81-4944-B88C-5973845A50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08226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A33BED6-4449-49D4-BC3C-EB3156004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44785-6506-4273-A90D-B190F15E63C8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38468B3-60C2-4893-9E7A-F4B2AA1F9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F5463E3-A757-4B59-BD42-D5FF627AD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BDFBF7-58BE-4045-AEC1-263A28AF9E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3409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F14977A-018A-48A1-9D6A-5D80EAACC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A05553-3FA0-4530-B063-3E5AFA5A2D7F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70599D-0A26-4ACC-975A-7DA0C0BD4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116040-9529-4F47-A7C5-AF07346E8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474AD-2EF9-444B-A895-88CC20C943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65172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EBE52E4-E415-4912-9C0E-A99B96785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E793C-045B-437C-BFEB-48EB2BF00CE8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78734BB-538E-4451-AB43-137DF2903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74CCB2-87F0-4A23-AA5F-B89CD260D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0B76B-A082-449B-B749-C177344379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71271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00471-7CEF-4293-AE2D-CFF87C06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F9B5E4-4CC5-4C0A-84AA-A6542FD5636A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3D90B5-4CF8-4C56-AC0E-2F93D7EF8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2114A-838A-45EE-8DE8-014C8FB96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C86FE-AEFE-431E-8C5D-0639A868FB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883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96100" y="838200"/>
            <a:ext cx="1943100" cy="5378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66800" y="838200"/>
            <a:ext cx="5676900" cy="5378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D300BDB7-5266-4768-9905-C172F098736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F8ED306-8A50-4896-A62C-9801036D05D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9F928C6B-C9C5-49B2-AE1D-E901DF0F1BA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19DCB-83D1-48F1-A908-4EDA8197F67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898760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93136-0E78-4294-A0AD-2C356FA11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7B1381-D941-4AA2-93BB-DA2AC1BF510E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779560-1639-4BF6-9E21-2065C6F0C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C34D8A-92FA-40E8-A794-01DD7DDCE1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2C2002-D399-4762-93DC-641644450F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38238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658" y="1028701"/>
            <a:ext cx="8351060" cy="4417484"/>
          </a:xfrm>
        </p:spPr>
        <p:txBody>
          <a:bodyPr/>
          <a:lstStyle>
            <a:lvl1pPr>
              <a:defRPr>
                <a:latin typeface="Trebuchet MS" pitchFamily="34" charset="0"/>
              </a:defRPr>
            </a:lvl1pPr>
            <a:lvl2pPr marL="358775" indent="-179388">
              <a:defRPr>
                <a:latin typeface="Trebuchet MS" pitchFamily="34" charset="0"/>
              </a:defRPr>
            </a:lvl2pPr>
            <a:lvl3pPr marL="503238" indent="-179388">
              <a:defRPr>
                <a:latin typeface="Trebuchet MS" pitchFamily="34" charset="0"/>
              </a:defRPr>
            </a:lvl3pPr>
            <a:lvl4pPr marL="682625" indent="-179388">
              <a:defRPr>
                <a:latin typeface="Trebuchet MS" pitchFamily="34" charset="0"/>
              </a:defRPr>
            </a:lvl4pPr>
            <a:lvl5pPr marL="864000">
              <a:defRPr>
                <a:latin typeface="Trebuchet MS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E3945E7-5436-431F-B10C-AB32742EA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295796-E4DA-4F54-A552-44011F04CF1F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1077B16-9EA3-4ED3-B701-8A68D8723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2FF1187-A7F6-483B-8210-5EBC31256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6CCBC7-2BE0-48C7-BB31-1207CFB61D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339140"/>
      </p:ext>
    </p:extLst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CB0AFFAA-BAF3-4693-93A0-62E8683C976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45654DEF-D4AE-41D2-9412-09CCB11C9D4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ECD2C159-2498-4427-B1D3-E82152B8F24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74C1AE-69D7-4667-8CD1-EB9D23F438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02889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0FF5E57-E95F-41A9-B00C-0DCD9B34E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516A16A6-CAE6-4D36-B166-6FD81C00DED7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D75925E-B990-4992-94D5-070FBD05A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05AEF6-4164-44ED-98D9-FAC74D6AF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823DACCB-B217-46F6-8948-64758092D4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2791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8A01CBB-9C1D-4E5D-907D-C5125E943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3AAC6FEB-FD20-4BFA-80C9-42217D51E39D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27F3B4D-18E7-4C2E-88CE-0451790ED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BADEAA-2E5D-44CA-AC73-38C6701F7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E9CEA499-2003-4ED2-B454-8EC1F3E22A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02891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8155D6F-F4DB-42F7-B951-0079C82BD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3FC93285-E10F-4EEB-A8A0-34BEE7475CB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9BD08BB-5A8A-476B-B3C7-D6E0F3FA0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C48BBED-61B0-4AC3-8A44-906DBFED1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B224D00-8763-458D-BFD2-ADA41FE3CB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77751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3E5191-D387-481B-A549-42205380C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99A07BA-383D-4F31-99A2-7B5B7C5F9503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0682AFC-544A-4FF6-B739-62E889D13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E66A837-6951-4898-9874-FE3A16B4E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CEAF5BC1-D93B-4E56-B560-F63AFD22D2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826560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B8C9950-3949-49F5-89FE-3CDBEE2F9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E0D12E4C-EE53-4BA9-B348-6E0758A9F9A4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0D7D797-FE26-4D8E-8CE8-6A927F0B6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A419503-CCC8-4504-AF39-4F9F76944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9976D4F-FA6F-4AAF-B6C6-E1E4726556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323126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31A8E00-0D69-4ADD-89EE-1FB72BECC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647EB5CD-B0FA-42D7-9BDE-F875C17832A7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5FE7E06-1D56-4448-A387-358F39061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8299CCF-5EE0-49E9-A030-DB6C3F5BB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9DAAB387-55BE-460A-A623-78BAFFEA7A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11481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C0DF216-75DE-4688-89BC-ED68273E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76B1EDFC-8EA7-4D3B-8C8E-92F154577A9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68B3F52-BB10-472E-AD88-FA1CD7953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24D816A-BDDB-4EC7-8DFE-77956D09B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A9959AC-4253-4451-BFDB-7B9A77153D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301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0D5D4B0A-C474-4C09-9D25-E6AF15990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9102D541-68EE-4E77-887E-9F91CA5953F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153527EE-0E7A-4CEF-810A-C46BADF8AAA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347289-D716-46E4-BD6E-C6FEE01496E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8651959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61F73F0-32BF-4222-8160-4CCC16794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9A51309F-0CA1-4808-8A44-45907A84A781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BBAE67A-336C-44E8-8DD2-9057E3142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A059A2F-C194-480A-8759-C4D001089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0A72A7F9-1165-4E8B-A998-6F2F0A4FDF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548436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95794F4-27CE-4BA8-B67C-93D5D1F98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18DA9A8F-FACD-4BA0-B514-681108806656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8D09B2-C287-465B-85B8-30470AF2A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F7C7DFA-2D5A-41B5-A43B-BE022B662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AE6D7828-C0B8-4B9C-9928-74BC89C6B9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271373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E811E6C-3592-4FF4-8A3E-18DEDEA68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5F890626-DAD3-4B89-880E-D055C9A1441D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D3FCE7-107F-46C5-9A66-290283595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4F1B236-C1A4-487F-86B6-8308204A5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70F9C6A7-C9FB-4BA0-8EEC-6C9C545EB7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467027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054310-911A-4191-B8B9-FEB63AC82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4C3AF6D-B77F-40E2-8D5A-097C8E8F621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88660EF-C399-4524-A433-1317B0F55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438D4D9-441A-4AE4-88BA-EC742618D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6952DCC7-FC0B-44F7-A220-07641E96F5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09833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50C2CE7C-9F99-4599-8FC1-B1817B015A6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186D9D89-0DB0-481E-9A6A-6045643060C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94D62ACC-F879-400B-B05D-37D42350F6A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412F0A-795C-4736-BA79-A3CD9BE300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289069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99742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4921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32664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17857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769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066800" y="210185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8F4495D9-7A6D-47BC-8E31-DCB18CAAA96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FBF5F919-180A-4AB8-ABCE-204C87C8137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454E33C9-92A6-44FA-9840-50C16849886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63E9EF-0BAD-40B1-B116-8994660D4ACF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44122700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741793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755386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95021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89725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902607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9109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4A93436-6EF0-4A5A-B43F-12C67FF95C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76C99418-01A7-465F-8832-6A3C34352C8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D95B60-F655-4E9F-9425-3805F9AA0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960A37-D73E-4A01-943C-8072FA6F2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88382DF7-3864-4706-9071-3CDD872A86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715751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A8E4936-E040-4CE2-B9E9-912A929BD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0AD46517-4F4E-4406-80C6-C9A55431D60C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4CD6697-DC81-4A28-B3B6-6AB1A81D8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4C45F7-7B77-4662-8F39-A068DA3D5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B192AE65-F708-4D6B-9BD5-B60B44B1B3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840744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471E765-E2F1-4EAB-84B3-9993CFF65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8BEAD7D-1EA3-4C74-9140-77DF955B63A0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F26F839-CC20-43A1-91A7-0F8506F5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1B36E6-05FC-4F4F-A740-0C28B5B5A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6116596-7987-4C6E-981A-4706CB03DB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747596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C781FB-2A2E-4776-98A0-49D337EA0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17D674DE-BAAA-4BEB-91FB-93E9CEF6C2CA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6F91DCC-896C-461A-86CD-30B9E5685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34B58E4-E8A6-4EF1-B2D2-2F8EA7BD4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2DC831C-F46F-4980-87CE-E89A755C5B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216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E791683D-65E6-4C91-B4C0-4D043BAEFE85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87A85B4D-C6D0-4043-AEA7-6111A0CB63FE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C7D9BD2B-396D-49E3-8124-1353F86E8877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93683802-0722-48E3-8252-300480060C5B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C22B5CA2-CAFA-4339-BBBD-D9BA5355DA6A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8B184C79-E07F-4AE1-9F9F-F2C9BA4B3F30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2D94538C-13D3-44AA-909A-FDF4C3391FC5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1F021FB0-A3F1-4943-BED0-A466D48017BE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33C2B42F-F7EA-4453-97BA-8740E021E2C6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1FD5587E-81A7-4152-8577-3B417F7A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794E9DAA-1BA9-4936-926F-95C4A8965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58C4F90F-1CDD-4881-80D4-A0064D207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1C850-A23F-49C8-A6A4-AAC0727E4381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5114278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29200" y="2101850"/>
            <a:ext cx="381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29200" y="4235450"/>
            <a:ext cx="381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DD21C614-7CD7-422A-B75C-60E0039539F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76084EBC-36CE-4F23-8105-085422AB114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866FD236-3AF8-42AD-847B-2F102585CDA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21E5A-D769-4410-91EC-9182192A8A49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57133107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C34119E-5981-4E5A-92D1-36E12C6CD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70EC68C-49DC-4E33-B393-B7744CFE5A5E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3DA2A0A-E867-4A14-8032-F0D078F11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5073FA6-71E7-444F-9E92-AA8A4E512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DF9DB3CF-BCBF-4441-9933-A2434D1FFE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1566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511190F-4A6D-40CC-86DE-B665BD803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75444F42-6172-4392-ABE9-DDD3F279DF4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ED5BD8F-2CCE-4D75-81EE-1D24FB496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7051918-C19C-4A6C-9F0D-E98B66B00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50071831-CB70-4748-AD6F-B5D0EB3B2B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09527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A6E990B-D78D-428F-9AD1-E4D8BFCF1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691B0F5B-2BF5-4888-AFA3-0057E98E9AA7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74A015-DFA0-4F96-BF6C-4614AB6033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B6E939-9AA1-41E1-9A89-4F2547814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66A66BF-93F6-4B17-9216-BECBBED526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13130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B115F41-9489-4160-82D7-6C33F0552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88AA67D-1540-4014-8106-6E27B2305DC4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5C30C6F-DDC2-4BD6-A9C0-C0426FB65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61005B-278D-47A6-B315-88F6F06CF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08E7E3D0-293E-491F-87EA-722B7FF103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29073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F54372E-EB2B-412D-939C-9EA4F9EF12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9D363F7-9A05-47D7-8815-FAAA710A2776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12B63DD-E016-4493-AD0B-648EABE7EC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3B21D86-934C-4D2D-A70E-A0ACA2DAF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CCBA2DF2-9A26-48AE-9EB4-6EB4280C32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41550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50EE3F-59D1-4AA3-B578-9217DDF66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75408C83-8A67-4B89-97C7-E1545F02ABF3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F1307BE-91D3-4493-8E1A-6C34EBA83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A8CC9C3-2A16-4AA4-988B-31B6C6F1D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1CBEF731-FDC1-4341-AD81-95B395DEF5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925455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8B6CC78-C1AC-44CB-A740-30910FB91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21A51AD7-2435-4668-8E21-34B33BCCAA88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359ECE-9EB0-40D8-8420-6949AE633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0DC5FBB-461A-47A5-8715-2A5636B89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BA06C074-3255-468A-9AA3-541E863E2D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367249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71D0B907-8FA4-4AB1-B411-9A27A8D7A5A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743177A2-6ADE-41D1-B0E7-EA373D20FA2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BA4F5E50-AC10-42A2-82F2-C21690B41FF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915E8E-6B06-41C8-8014-97EEBF8D29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7721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C7415FB3-393A-45FB-95FD-5A2A2A046133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BFD6B891-530D-42CD-9536-15B9498660C5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E0DCE990-0444-44A9-BD00-B9B74B302B6D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37A63A79-B43E-410B-8260-2FB1F3FE8B82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95E81B78-82FE-4954-B70B-2F3B09E0396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408C19FF-8051-4456-A3F5-573A11274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D07E99D3-B4E1-48A3-B5D2-BBB57DB47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1C88E531-28E1-4DC9-BCA0-C8EAA3EFA0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777BE196-33F4-4AAD-BEE1-4C47BEA4C5F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9687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DEF27FA7-2625-478E-8007-0872320AE563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49F97F20-AE62-4FBD-A9AC-3938F3EC71A6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08D2A30B-822F-4D22-8BD0-F2AA6446011A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470C40F7-7F55-4F67-809B-4559036B10C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8A0E0E59-1474-4169-A937-5C20AE1468E2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85CDA973-09F0-42FE-B98B-4EDC26952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E0408D93-5F96-4640-A5F2-5769A1899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90B51655-8CC2-4309-ADD1-DBCA8DC04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E49730EA-B35D-41AA-A5F7-08233E88BB94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000173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066800" y="210185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925806A4-BC2B-4FA7-9AB9-E983AE4CCB0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D8139F8F-31B7-42C6-9385-0C5DA33A4AF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936A8682-9AFA-4C19-9AFC-87464010A8D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2B01BD-B57F-4D12-8FF4-784CA0EEC720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4398063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14DC1A23-7AB7-44DD-A8EC-7EC87723851D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71D4E24B-871F-4421-A196-2D8824A3A55D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30380E28-9082-409D-B84F-6E14169FA4A4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1F4D489B-52B8-4DDD-BCC0-062D7C0B2D1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A42B3BF5-2FD4-454B-A8F7-0FE1578DDD0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C1ABF5A9-C235-441F-850E-77F293549B5F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07D3590E-81BD-4292-AF0B-337CFE77E74A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94CDC85D-A879-4D12-BA88-D303323F3334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D779D87F-43DC-40A1-B1A7-9E78A44CEA78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4628E6B6-6BB3-4702-A05C-31C6EDFA3B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FB995512-68FC-4B01-BD5E-0743B06C7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49936346-BC97-4DE7-8A66-5D808BF39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494C4C-71C8-459E-A39D-1EA0759B5235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76396685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165E80DC-FC73-4710-A8E1-CB64ABD4B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40E0DC96-6645-4E26-86DA-9A546EE54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3D3761A2-B671-4F04-A6B6-C64E3135B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53B3C-F3A6-4DD3-92BE-623BA6913D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1308927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7BF677F-974D-4C85-91AE-5B76B08404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3240A16-159E-43AC-BF15-E0C562D36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7255CB6-3A15-4542-8EC0-9605F83FD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1AE37-0312-4AE0-83B0-DBA060C839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8443885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76DF1B5-25C2-4414-A59D-7AD31849947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663539C-A265-4950-BF12-716689E5D93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69DDF1B-7043-4CB5-8877-C542E455EEB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411091-445F-4FDC-83B0-85FC8A0A489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1395593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00127A89-9C3F-44B8-A22A-3ECDD06C70BD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B2C69435-3758-4392-98C9-91CA54D26E9D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180D890D-E679-4044-A0E1-5F4DE3CD3570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FFAD95F5-2834-4FAB-8032-A372E168B59B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FFE30F21-92BD-456E-815A-FAE7C83BCFD8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DA51D9C2-88AF-48B7-BCB8-6E2B94904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94D04DE3-B4EF-4AF6-B2BA-EBB08378B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CB3A14B0-664E-413F-B02F-F84A0CCEA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070F0846-87EC-4113-B882-B2246C5FB73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3000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E155A38B-B438-4722-B7D0-F9A1E12E7418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AEDB772D-1BD5-45F7-8023-408AD598794A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C53D44C1-CFD8-42FD-A065-19B37B0D4189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2080CB97-4DBC-4700-A52B-B6EF91DA736E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4B56F0B5-974D-417B-9AB6-F77097E595B5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C9A2DE83-48A9-42F0-A1D2-46A30C234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84ABA24A-56D5-4ED9-9297-3D30D9001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1A45447F-EE28-4C21-AAE0-442EBDF88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801BC09B-F2D8-4B59-B7F2-795E465F10D5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263582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F133272B-525A-4748-8E6B-BAD03A393AB8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76A33D65-9DBE-48D7-857A-06133A3F4B8B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1A80F87C-11C1-4B53-A030-71FFD093C65C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2E8FCEAE-45E9-4ABF-A884-467D5AEC0601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F33FF6D5-C080-4B40-8A09-0D4395A7C8A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2446D65C-2F32-4018-94B7-F93E2EE3E1D7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15E0E68A-079A-4C73-8E68-5815C41D3E70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364C7461-6DAE-405C-A452-A792D48A7D48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D3CD84DB-3C47-41CC-8791-EBC29796E761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F4E7409C-2A55-4236-A004-851F89B904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54410685-851F-42E6-98BF-E552C70CA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C3C74F57-990A-4A95-A4A4-4E367A1FB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7C53A5-993F-4854-95D3-FD35CB01A72D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01865803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5EDD0F4B-BD2D-4B5A-BC83-880976066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EF51EE36-6D2B-436A-B9C4-912E34866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4AA5B735-9B65-43A2-BE24-877D00DA1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07976-F7D0-4B08-AC8B-1CC5AFF81F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2176571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9AF29CD-7B45-4032-9C60-505592B27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8DD5FD6-2324-49CA-8F4D-293A2A20D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6785E7-AD62-4813-96C9-F03AEA1B4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8A52F-E781-41F5-B043-DCFA604DEB7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957747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89C449E4-4D55-4902-9E96-09D39816B77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6B953118-5A06-44FF-86E0-C6B8E473036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85D1176B-17C7-4872-AB8A-214AAADF612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8F9251-DA49-43FB-AC23-CB836A30255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2794348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31DC7C07-BB4F-4DBD-BFCA-2E676FCD0E8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AD73AFC7-C4F7-458B-87C5-9AAF5D4FDB4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8371B06A-CEA9-4BDE-BDF2-2C2A3AD0579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26CE6-F214-49A7-8BA0-E8AE6D0A5348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34634600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8D77AC-6487-4649-9841-E7EF435047C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FAC301-28C0-464F-A0A9-5737D6472E7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4E8CE5-753C-4A63-BF7E-730AC96838B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09A42-65EC-421D-A2B0-53852AC4D761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1355405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96BBA1C-8104-4796-B3EB-16543E05305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40C2C1E-12A4-435F-8E6F-D503E754E38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24DCFB9-9877-4D1A-8E12-F338BB42617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74C81-0AF9-40B1-BC00-3140507A05F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25854548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01F79564-A67E-41C8-B151-7E999B8DBC69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52AF1C8A-F708-4915-80D7-87CBE0487429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3968743C-AB34-46F8-A7E5-06E335F0E7B8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6E8614C1-89CC-4C1C-9C77-5C616DB0A402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ADF752E0-355F-4795-8FFD-4B34E5AFD1E3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A073479F-D3D1-4659-A088-A199D8F34E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7698DC9C-1D14-4FB2-A0C7-A6A846B07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92C300A4-ADA9-4DC5-A69B-16D9B8777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0E96C237-540A-426F-BC03-7EDF57744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411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ECEEBDD7-B59F-4FF0-87B2-7A319C9BBCAC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6E477830-B741-486E-9E2E-63282814816F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5DBC157E-3F01-460D-A4D3-AC87AA54E0EA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1B6DFC36-F6D5-4710-8AF1-E9ADB75DBA2D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FBE8E341-564E-48BF-AD75-6AE5592E1E1E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2C4E032D-A408-4B7E-BF40-0B2962542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F8EB2B37-80F6-4439-BC3D-9B71DA0088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171979E4-FAF7-4318-AA88-931826EC1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18F07804-58C3-440F-A267-24A58202A778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674809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2D3FBBE4-2E97-4E65-A7A1-6A8E5CC5615F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7C5B7F1C-2339-401B-89C8-68F8B50DE66C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BEB74F04-FEF2-4CC0-AC6F-E85B14ACC407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B6C51626-FB57-4656-8B81-788FF1A2FC38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2498A994-B65D-49AA-98B3-AA34FAE5CF75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kumimoji="0" lang="en-US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45184434-B194-45BA-B717-8A94E79425D2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BC633EF3-3CA6-4468-A2E8-CFCCC3BDF588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02333150-2806-4080-BBF1-E8EF15A05EFE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2AD40777-788D-4DE0-95C0-9DDED2D40A51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876C53B2-BF4B-41E7-975F-039EBE83E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889CC7C6-11E1-428F-8939-BE5291C9A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7654995A-0F48-4C83-8424-136E26AAF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EF3D05-ADA4-4003-9861-58FCAE0120D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69423423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102A5A1C-95EA-45B1-9DD7-D10550ADC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C8BD00FF-2E34-4620-A185-5866AD233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210B7EF3-4806-45E3-8835-1D4B023D0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B511F-44CE-48E6-AF44-D495A8D66DA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0239383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269C3000-AA75-41BC-BA97-8B9F04C65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7F0A728-4F1B-4DD8-83E3-793A769F3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5F4F0EF-A675-4FE3-B9CB-3B824D99C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38F89-44AD-43AB-B4FE-33F73AB6DE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959637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D69B4D53-B511-4980-B6E8-F953402D859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BA5632A5-9895-430C-9E27-F563D6BF1A6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203EB732-EB3D-4292-8662-34040B118EC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0FC5E0-079A-4EF1-BAF7-A9D68F1730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12996198"/>
      </p:ext>
    </p:extLst>
  </p:cSld>
  <p:clrMapOvr>
    <a:masterClrMapping/>
  </p:clrMapOvr>
  <p:transition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CADAD62-02EC-4E76-B3A6-472A5CF3005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8D6DBD3-6C6C-4928-B117-60A42F2C480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3A49B29-3F97-48D0-8D00-2062EF9FF7A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1FC31D-EBE4-4B7C-9F92-53800495BCBE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8007882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694FE62-5A02-42CE-A91F-91C22CAB22D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40C880-C8B9-4DD1-9D8B-779F629D9C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F1027A1-B1A4-4A8A-B35A-A4A49782E7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260ED-F7FC-4AF7-AD73-00BDA2FB2B7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9321754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50">
            <a:extLst>
              <a:ext uri="{FF2B5EF4-FFF2-40B4-BE49-F238E27FC236}">
                <a16:creationId xmlns:a16="http://schemas.microsoft.com/office/drawing/2014/main" id="{DA8A0F4F-7EFD-49ED-95F0-B5407167B078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228600" y="3200400"/>
            <a:ext cx="8763000" cy="1341438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pic>
        <p:nvPicPr>
          <p:cNvPr id="5" name="Picture 2051" descr="ANABNR2">
            <a:extLst>
              <a:ext uri="{FF2B5EF4-FFF2-40B4-BE49-F238E27FC236}">
                <a16:creationId xmlns:a16="http://schemas.microsoft.com/office/drawing/2014/main" id="{630CC89E-89F0-4D09-AE15-C311703E5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00" t="-1314" r="-2" b="-36961"/>
          <a:stretch>
            <a:fillRect/>
          </a:stretch>
        </p:blipFill>
        <p:spPr bwMode="auto">
          <a:xfrm>
            <a:off x="533400" y="3200400"/>
            <a:ext cx="8458200" cy="115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052">
            <a:extLst>
              <a:ext uri="{FF2B5EF4-FFF2-40B4-BE49-F238E27FC236}">
                <a16:creationId xmlns:a16="http://schemas.microsoft.com/office/drawing/2014/main" id="{EE365316-7027-4EC5-B025-E6E606146B6B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795338" y="2895600"/>
            <a:ext cx="304800" cy="990600"/>
          </a:xfrm>
          <a:prstGeom prst="rect">
            <a:avLst/>
          </a:prstGeom>
          <a:solidFill>
            <a:schemeClr val="accent2">
              <a:alpha val="50195"/>
            </a:schemeClr>
          </a:soli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385029" name="Rectangle 2053"/>
          <p:cNvSpPr>
            <a:spLocks noGrp="1" noChangeArrowheads="1"/>
          </p:cNvSpPr>
          <p:nvPr>
            <p:ph type="ctrTitle"/>
          </p:nvPr>
        </p:nvSpPr>
        <p:spPr>
          <a:xfrm>
            <a:off x="1143000" y="1981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85030" name="Rectangle 2054"/>
          <p:cNvSpPr>
            <a:spLocks noGrp="1" noChangeArrowheads="1"/>
          </p:cNvSpPr>
          <p:nvPr>
            <p:ph type="subTitle" idx="1"/>
          </p:nvPr>
        </p:nvSpPr>
        <p:spPr>
          <a:xfrm>
            <a:off x="2038350" y="4351338"/>
            <a:ext cx="6400800" cy="1371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" name="Rectangle 2055">
            <a:extLst>
              <a:ext uri="{FF2B5EF4-FFF2-40B4-BE49-F238E27FC236}">
                <a16:creationId xmlns:a16="http://schemas.microsoft.com/office/drawing/2014/main" id="{22974505-AF5C-4145-AE6C-8E4AA1E0956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3246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56">
            <a:extLst>
              <a:ext uri="{FF2B5EF4-FFF2-40B4-BE49-F238E27FC236}">
                <a16:creationId xmlns:a16="http://schemas.microsoft.com/office/drawing/2014/main" id="{4FF5BCC0-D2B9-45E8-A5F3-97C51C05426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246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057">
            <a:extLst>
              <a:ext uri="{FF2B5EF4-FFF2-40B4-BE49-F238E27FC236}">
                <a16:creationId xmlns:a16="http://schemas.microsoft.com/office/drawing/2014/main" id="{C5E2ADBE-B4DD-4C55-BFAD-071F9229F8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24600"/>
            <a:ext cx="1905000" cy="457200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fld id="{37185491-14B4-49AC-B943-502445F14A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9812384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C8BF4EA-A491-4EE3-9BB5-34C11434892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 kumimoji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A635286-03DC-4106-B3CF-6EACAAD1DE7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kumimoji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563D263-E877-465D-85C6-F36306FE015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kumimoji="1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0518194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2A78DE26-81F8-45A9-AB88-6FE2F93990D8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B34EC456-10DA-4B19-9DD7-888D1B3F5F3B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071ACC18-C43C-4963-A6F4-CC1DFD939BB4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B554841F-C731-47B8-95B8-61707BC201DD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8A2CD53D-FA09-459A-AF51-0E6BF8CD8687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C84E0EEF-07EB-4ECA-AF78-0CAA2AE02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913EFC88-DDD3-4ADB-977D-5D0AF3A6D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FCB7D1C4-3EBD-40F8-AF63-B72DDADE4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8AF8331B-7664-439E-9EE4-349277D24C7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849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2313ADFC-9FA6-4E71-AAAE-4F3C6F8BFA37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AAAA0B43-3104-4674-9CEB-C565C706806F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4BDF6AA1-85B4-430C-8C85-EE7F1E7A88F0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FE19876E-1449-48B1-A36D-1DE502AD9A30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704DFCF7-038A-43DD-9CF9-A415A4B98CF8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C33E6602-1A4B-42F0-9852-DB8DDE828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3E3ED759-24B3-44FA-9FF5-383F89B23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1D3A38DB-4051-4F72-B9F3-9D520D4AA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E9D2A94B-CDDD-497E-B36C-BE9728A23BFB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286483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1DB20EE4-0694-4629-A1AA-59DB3585E5D8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57421036-E818-4062-948F-2CD79129810F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3C899D94-36EB-4468-8333-0204D2270111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9C639331-FC6B-417C-8B53-EFABA6EF382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BC047C66-57E6-4F91-A03F-9D8E5F9C39DC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24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ED326A6F-DE72-4D41-81CC-334EFC2F98E6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720E4302-B658-44E9-8095-E53B283FD708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2400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BF0F1B76-302A-44C7-8F7D-4C6BAFC73E44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C74A6DEB-47E2-4CD4-A4C4-03C81C05DBB7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24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FCB91233-9814-4914-8634-3279F8965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AA6C342D-26B1-427D-9AB3-75B5313CD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ACA84053-4E5A-49DD-9609-66CA5A1D6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6CD415-E44F-4768-9787-B683BDDE663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83148292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D78C1590-0B21-4457-B64C-BA1948BF8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655186B6-5F5F-414E-83B1-D50ED6159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D4C1D581-01EF-4C49-9FA4-A6FF80616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26BFD-A811-425C-A650-F45C2CF3C80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0752417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00F587FB-4749-4D0C-9C4B-9E6DD93DE8D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FDCE553E-CFC7-43ED-A430-65E93FF4491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D9AB2020-AE2E-4649-B195-30D1432A528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06E6C-ABD1-47B9-80D4-CC723F4CD6E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6744105"/>
      </p:ext>
    </p:extLst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2ED759F-6430-40C9-9009-070B4404656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E064E94-CC9A-4F29-856D-27C652D0B8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81E4B01E-8C41-4233-8D6D-986F6733CF3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2BFAA-6F61-4673-810F-8486E5219767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44098698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47A954-25E4-4B91-AB60-2F8D3D3F3A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6D1FF71-0E04-4013-92D5-68446E1554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64CE2F-8D8B-4D4E-AF3E-1CB1283B3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FD36984-6A71-4070-BC09-FBDAD2152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DD40E5-5A4E-415C-A862-9A50C5157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068646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A9EB623-EDD0-4E8F-93D1-460221F29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CE18B69-3141-4A4F-A701-85CA413ED4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341279E-4207-42BC-AFFB-87A76AD66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7DA84E7-D919-4C00-AE29-2A7DB1FE4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5E6F8E-1FB4-45FA-B4A5-4A47DF064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053096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6E37F4-016E-479C-B10C-11E494905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A644908-822C-4EFC-B355-697873063C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6FE05CB-1253-428E-A90C-94D816160A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4961BE-2612-40DB-A558-26C1C6639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FAE52D7-7F64-4B39-8D14-0AFDA38FA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5471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AB2F184A-BD68-46DD-9FD5-7C464A49B28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C403E149-B436-4EA8-A393-A1316473612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45707F8C-C0D2-4CDE-9987-F8A6AC8BF00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3EADA3-6FC3-4772-A97F-2EFF79C43241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85387936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419601-5139-431B-923C-4EAB0A646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1451FC9-4E2C-4DD8-A951-591F81C979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BE2E0DA-D313-47A9-9C00-84B060DB4C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20702A0-7F75-412E-8ABB-3D8E06421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B9FE21D-875B-4CA6-9E16-0D85927D9A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7BADC13-324E-4EF9-BA08-F1979542C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028233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E123E8-4A02-49FF-A114-31E0AC133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087E455-2B29-4B90-A01C-B644627C6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5C6A1AC-0C5D-4381-926B-7FB4B0AA37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FDD4A87-E791-4BDD-B628-31844F4560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CAFF323-D04E-4E0C-ACE5-AA53046A33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A090393B-A7B4-4C57-895C-B5D77B11C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25B21A9-9BB5-4F40-B2B8-68CE74B61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293C4A1-57CB-4EF9-BF34-36B78418F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2747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F2B6C3-6AEC-494B-9DE3-D4261E2C1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0566EB8-65B7-4830-B7AE-50497945E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144DAD5-14D0-48A3-8BD9-B93AAAE2B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68E95AF-0458-4677-BB21-E5530AA36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2566896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25FB13C3-7A74-433F-BE26-83BF7F765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835C5DB-4A93-4B88-A6B1-1CE338325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C512B4-ABB1-4D05-8F7E-5EBBB55EC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277247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C48676-DC22-4D51-AC17-0BB4D29F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6CB7E0F-A9FB-455E-B790-C062D3E1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6BE9181-47C1-4C2F-A68B-9188FF59EF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3DC62A6-FAA6-45F2-A6B8-5905E0335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C85A932-94C1-4697-9EEF-111B73626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5D8CD27-DB94-425D-BC0B-4B58C8C9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90958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8FB438-95DF-44EA-94A6-15E6E0FB0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2B7DF83-B87F-4D23-91E3-1C92C2D3E6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CD2C069-8520-4623-8523-BF3950B3F5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6389038-EDBF-4A48-82DC-C9D738A18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97C1AD4-A118-40F9-8BDC-91F8D96F7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39FA510-8246-411B-A014-80AF4D521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78148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333BEA-54A2-4CC2-8E45-19DA3117A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169FE40-C84B-489F-AF65-D242320351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1B01C4-99B9-431F-88FA-67072369C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818719C-E14B-4FBB-A6FA-1BC781A48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187CFEE-8268-4FD9-B6D6-83B4CF60E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41290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6FB2EBE-1763-4535-A67A-0B3D37A8B7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92E02B5-7B1F-40B6-B55C-09C452CE16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AA8786-CB37-44C0-BD67-1AF04AB78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CB0201D-91A1-44FB-A872-5D817AF7D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FEC4174-326C-4563-B7FD-07767E0D0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41559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2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9DACFD9-1B9B-401C-8B9A-CD1D1FFC9FF2}" type="datetime1">
              <a:rPr kumimoji="0"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1/17/2023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>
                <a:solidFill>
                  <a:prstClr val="white"/>
                </a:solidFill>
                <a:latin typeface="Calibri" panose="020F0502020204030204"/>
              </a:rPr>
              <a:t>/// Bayer 16:9 Template Chart Pool /// November 2017</a:t>
            </a:r>
            <a:endParaRPr kumimoji="0"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EAD9179-7A6B-4268-BEB2-F3B8EB06115B}" type="slidenum">
              <a:rPr kumimoji="0" lang="en-US" smtClean="0">
                <a:solidFill>
                  <a:prstClr val="white"/>
                </a:solidFill>
                <a:latin typeface="Calibri" panose="020F0502020204030204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919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3"/>
            <a:ext cx="2715768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5010EB2-6865-41ED-94A3-C47153434422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4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9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84" y="0"/>
            <a:ext cx="6087007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096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D943C829-0EFE-4DEB-85F1-FF80CA348F3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55C40380-8DB4-4914-8AE5-2FB6A9B36E5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6FAA3395-9A79-4F96-B168-EDA2F795AEE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A148C5-B3E3-4CCD-990B-30DE1A084638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16993806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3"/>
            <a:ext cx="2715768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CD30EA2-1438-43BD-AA19-0A8FB6B3348D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4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9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5222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231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3"/>
            <a:ext cx="2715768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D7FA799-CE4C-40D5-A6E9-BE04FE3F997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4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9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80" y="0"/>
            <a:ext cx="6087008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115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482769" y="403540"/>
            <a:ext cx="7218941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200" y="1843720"/>
            <a:ext cx="3510457" cy="4641031"/>
          </a:xfrm>
        </p:spPr>
        <p:txBody>
          <a:bodyPr/>
          <a:lstStyle>
            <a:lvl1pPr marL="202460" indent="-202460">
              <a:spcBef>
                <a:spcPts val="1350"/>
              </a:spcBef>
              <a:spcAft>
                <a:spcPts val="0"/>
              </a:spcAft>
              <a:buFontTx/>
              <a:buBlip>
                <a:blip r:embed="rId2"/>
              </a:buBlip>
              <a:defRPr sz="1500"/>
            </a:lvl1pPr>
            <a:lvl2pPr marL="404920" indent="-202460">
              <a:spcBef>
                <a:spcPts val="4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2pPr>
            <a:lvl3pPr marL="607379" indent="-20246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3pPr>
            <a:lvl4pPr marL="809838" indent="-20246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BBB039-A7ED-4CBB-ABC6-76E5CA824551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1" y="6617933"/>
            <a:ext cx="4283556" cy="108000"/>
          </a:xfrm>
        </p:spPr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2" y="6617933"/>
            <a:ext cx="294283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1"/>
            <a:ext cx="540305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5853943" y="1"/>
            <a:ext cx="3290061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</p:spTree>
    <p:extLst>
      <p:ext uri="{BB962C8B-B14F-4D97-AF65-F5344CB8AC3E}">
        <p14:creationId xmlns:p14="http://schemas.microsoft.com/office/powerpoint/2010/main" val="363597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4" y="5"/>
            <a:ext cx="1578637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67" tIns="34283" rIns="68567" bIns="34283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74890C4-4E35-4DC3-9074-9DF2286DA7D6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3064855"/>
            <a:ext cx="3375440" cy="72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8" y="617323"/>
            <a:ext cx="296475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40" y="1473911"/>
            <a:ext cx="3105404" cy="1440753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32106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10" y="0"/>
            <a:ext cx="4838495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35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4" y="4"/>
            <a:ext cx="1578637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67" tIns="34283" rIns="68567" bIns="34283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3" y="2989340"/>
            <a:ext cx="3375440" cy="1440753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344F48-BAD6-420A-B743-D8CEE7E17EB6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2134651"/>
            <a:ext cx="3375440" cy="72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8" y="617323"/>
            <a:ext cx="296475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23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4" y="4"/>
            <a:ext cx="1578637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67" tIns="34283" rIns="68567" bIns="34283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462167"/>
            <a:ext cx="3375440" cy="1440753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6E2BF2-796F-4859-87CD-88E1933E68BD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8" y="617323"/>
            <a:ext cx="296475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51" y="3064855"/>
            <a:ext cx="3375440" cy="72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1" y="1"/>
            <a:ext cx="3112042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216958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3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accent1"/>
                </a:solidFill>
              </a:defRPr>
            </a:lvl1pPr>
            <a:lvl2pPr marL="0" indent="0" algn="l">
              <a:buNone/>
              <a:defRPr sz="1425">
                <a:solidFill>
                  <a:schemeClr val="accent1"/>
                </a:solidFill>
              </a:defRPr>
            </a:lvl2pPr>
            <a:lvl3pPr marL="0" indent="0" algn="l">
              <a:buNone/>
              <a:defRPr sz="1425">
                <a:solidFill>
                  <a:schemeClr val="accent1"/>
                </a:solidFill>
              </a:defRPr>
            </a:lvl3pPr>
            <a:lvl4pPr marL="0" indent="0" algn="l">
              <a:buNone/>
              <a:defRPr sz="1425">
                <a:solidFill>
                  <a:schemeClr val="accent1"/>
                </a:solidFill>
              </a:defRPr>
            </a:lvl4pPr>
            <a:lvl5pPr marL="0" indent="0" algn="l">
              <a:buNone/>
              <a:defRPr sz="1425">
                <a:solidFill>
                  <a:schemeClr val="accent1"/>
                </a:solidFill>
              </a:defRPr>
            </a:lvl5pPr>
            <a:lvl6pPr marL="0" indent="0" algn="l">
              <a:buNone/>
              <a:defRPr sz="1425">
                <a:solidFill>
                  <a:schemeClr val="accent1"/>
                </a:solidFill>
              </a:defRPr>
            </a:lvl6pPr>
            <a:lvl7pPr marL="0" indent="0" algn="l">
              <a:buNone/>
              <a:defRPr sz="1425">
                <a:solidFill>
                  <a:schemeClr val="accent1"/>
                </a:solidFill>
              </a:defRPr>
            </a:lvl7pPr>
            <a:lvl8pPr marL="0" indent="0" algn="l">
              <a:buNone/>
              <a:defRPr sz="1425">
                <a:solidFill>
                  <a:schemeClr val="accent1"/>
                </a:solidFill>
              </a:defRPr>
            </a:lvl8pPr>
            <a:lvl9pPr marL="0" indent="0" algn="l">
              <a:buNone/>
              <a:defRPr sz="1425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430286-7D98-4FEE-9311-A66FFD98BE14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8" y="1732751"/>
            <a:ext cx="8101054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1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3" y="1138299"/>
            <a:ext cx="8099391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accent1"/>
                </a:solidFill>
              </a:defRPr>
            </a:lvl1pPr>
            <a:lvl2pPr marL="0" indent="0" algn="l">
              <a:buNone/>
              <a:defRPr sz="1425">
                <a:solidFill>
                  <a:schemeClr val="accent1"/>
                </a:solidFill>
              </a:defRPr>
            </a:lvl2pPr>
            <a:lvl3pPr marL="0" indent="0" algn="l">
              <a:buNone/>
              <a:defRPr sz="1425">
                <a:solidFill>
                  <a:schemeClr val="accent1"/>
                </a:solidFill>
              </a:defRPr>
            </a:lvl3pPr>
            <a:lvl4pPr marL="0" indent="0" algn="l">
              <a:buNone/>
              <a:defRPr sz="1425">
                <a:solidFill>
                  <a:schemeClr val="accent1"/>
                </a:solidFill>
              </a:defRPr>
            </a:lvl4pPr>
            <a:lvl5pPr marL="0" indent="0" algn="l">
              <a:buNone/>
              <a:defRPr sz="1425">
                <a:solidFill>
                  <a:schemeClr val="accent1"/>
                </a:solidFill>
              </a:defRPr>
            </a:lvl5pPr>
            <a:lvl6pPr marL="0" indent="0" algn="l">
              <a:buNone/>
              <a:defRPr sz="1425">
                <a:solidFill>
                  <a:schemeClr val="accent1"/>
                </a:solidFill>
              </a:defRPr>
            </a:lvl6pPr>
            <a:lvl7pPr marL="0" indent="0" algn="l">
              <a:buNone/>
              <a:defRPr sz="1425">
                <a:solidFill>
                  <a:schemeClr val="accent1"/>
                </a:solidFill>
              </a:defRPr>
            </a:lvl7pPr>
            <a:lvl8pPr marL="0" indent="0" algn="l">
              <a:buNone/>
              <a:defRPr sz="1425">
                <a:solidFill>
                  <a:schemeClr val="accent1"/>
                </a:solidFill>
              </a:defRPr>
            </a:lvl8pPr>
            <a:lvl9pPr marL="0" indent="0" algn="l">
              <a:buNone/>
              <a:defRPr sz="1425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884B82-A80F-43C8-AFD6-86CC18223422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5308" y="1732755"/>
            <a:ext cx="391551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344" y="1732755"/>
            <a:ext cx="391551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736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5309" y="1138299"/>
            <a:ext cx="8100632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accent1"/>
                </a:solidFill>
              </a:defRPr>
            </a:lvl1pPr>
            <a:lvl2pPr marL="0" indent="0" algn="l">
              <a:buNone/>
              <a:defRPr sz="1425">
                <a:solidFill>
                  <a:schemeClr val="accent1"/>
                </a:solidFill>
              </a:defRPr>
            </a:lvl2pPr>
            <a:lvl3pPr marL="0" indent="0" algn="l">
              <a:buNone/>
              <a:defRPr sz="1425">
                <a:solidFill>
                  <a:schemeClr val="accent1"/>
                </a:solidFill>
              </a:defRPr>
            </a:lvl3pPr>
            <a:lvl4pPr marL="0" indent="0" algn="l">
              <a:buNone/>
              <a:defRPr sz="1425">
                <a:solidFill>
                  <a:schemeClr val="accent1"/>
                </a:solidFill>
              </a:defRPr>
            </a:lvl4pPr>
            <a:lvl5pPr marL="0" indent="0" algn="l">
              <a:buNone/>
              <a:defRPr sz="1425">
                <a:solidFill>
                  <a:schemeClr val="accent1"/>
                </a:solidFill>
              </a:defRPr>
            </a:lvl5pPr>
            <a:lvl6pPr marL="0" indent="0" algn="l">
              <a:buNone/>
              <a:defRPr sz="1425">
                <a:solidFill>
                  <a:schemeClr val="accent1"/>
                </a:solidFill>
              </a:defRPr>
            </a:lvl6pPr>
            <a:lvl7pPr marL="0" indent="0" algn="l">
              <a:buNone/>
              <a:defRPr sz="1425">
                <a:solidFill>
                  <a:schemeClr val="accent1"/>
                </a:solidFill>
              </a:defRPr>
            </a:lvl7pPr>
            <a:lvl8pPr marL="0" indent="0" algn="l">
              <a:buNone/>
              <a:defRPr sz="1425">
                <a:solidFill>
                  <a:schemeClr val="accent1"/>
                </a:solidFill>
              </a:defRPr>
            </a:lvl8pPr>
            <a:lvl9pPr marL="0" indent="0" algn="l">
              <a:buNone/>
              <a:defRPr sz="1425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C20C342-5A3D-4918-90D4-16E7383BD1D9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5307" y="3892758"/>
            <a:ext cx="3915510" cy="25920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1" y="3892758"/>
            <a:ext cx="391551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5307" y="1732751"/>
            <a:ext cx="3915510" cy="1800000"/>
          </a:xfrm>
        </p:spPr>
        <p:txBody>
          <a:bodyPr tIns="539893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1" y="1732751"/>
            <a:ext cx="3915510" cy="1800000"/>
          </a:xfrm>
        </p:spPr>
        <p:txBody>
          <a:bodyPr tIns="539893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358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3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accent1"/>
                </a:solidFill>
              </a:defRPr>
            </a:lvl1pPr>
            <a:lvl2pPr marL="0" indent="0" algn="l">
              <a:buNone/>
              <a:defRPr sz="1425">
                <a:solidFill>
                  <a:schemeClr val="accent1"/>
                </a:solidFill>
              </a:defRPr>
            </a:lvl2pPr>
            <a:lvl3pPr marL="0" indent="0" algn="l">
              <a:buNone/>
              <a:defRPr sz="1425">
                <a:solidFill>
                  <a:schemeClr val="accent1"/>
                </a:solidFill>
              </a:defRPr>
            </a:lvl3pPr>
            <a:lvl4pPr marL="0" indent="0" algn="l">
              <a:buNone/>
              <a:defRPr sz="1425">
                <a:solidFill>
                  <a:schemeClr val="accent1"/>
                </a:solidFill>
              </a:defRPr>
            </a:lvl4pPr>
            <a:lvl5pPr marL="0" indent="0" algn="l">
              <a:buNone/>
              <a:defRPr sz="1425">
                <a:solidFill>
                  <a:schemeClr val="accent1"/>
                </a:solidFill>
              </a:defRPr>
            </a:lvl5pPr>
            <a:lvl6pPr marL="0" indent="0" algn="l">
              <a:buNone/>
              <a:defRPr sz="1425">
                <a:solidFill>
                  <a:schemeClr val="accent1"/>
                </a:solidFill>
              </a:defRPr>
            </a:lvl6pPr>
            <a:lvl7pPr marL="0" indent="0" algn="l">
              <a:buNone/>
              <a:defRPr sz="1425">
                <a:solidFill>
                  <a:schemeClr val="accent1"/>
                </a:solidFill>
              </a:defRPr>
            </a:lvl7pPr>
            <a:lvl8pPr marL="0" indent="0" algn="l">
              <a:buNone/>
              <a:defRPr sz="1425">
                <a:solidFill>
                  <a:schemeClr val="accent1"/>
                </a:solidFill>
              </a:defRPr>
            </a:lvl8pPr>
            <a:lvl9pPr marL="0" indent="0" algn="l">
              <a:buNone/>
              <a:defRPr sz="1425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3" y="181939"/>
            <a:ext cx="8099900" cy="864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ABB5D21-DD52-4FE1-9468-124BFF5F7347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46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330B642D-DBC1-49D3-AF01-49AA434F437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1C33259C-4CB5-4E7A-8C8C-F80FCC438B7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3377E1AC-133F-4B88-896D-6A75EFC0113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CADB2-F5C6-48BC-9B42-BE37285FD180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73495695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3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bg1"/>
                </a:solidFill>
              </a:defRPr>
            </a:lvl1pPr>
            <a:lvl2pPr marL="0" indent="0" algn="l">
              <a:buNone/>
              <a:defRPr sz="1425">
                <a:solidFill>
                  <a:schemeClr val="bg1"/>
                </a:solidFill>
              </a:defRPr>
            </a:lvl2pPr>
            <a:lvl3pPr marL="0" indent="0" algn="l">
              <a:buNone/>
              <a:defRPr sz="1425">
                <a:solidFill>
                  <a:schemeClr val="bg1"/>
                </a:solidFill>
              </a:defRPr>
            </a:lvl3pPr>
            <a:lvl4pPr marL="0" indent="0" algn="l">
              <a:buNone/>
              <a:defRPr sz="1425">
                <a:solidFill>
                  <a:schemeClr val="bg1"/>
                </a:solidFill>
              </a:defRPr>
            </a:lvl4pPr>
            <a:lvl5pPr marL="0" indent="0" algn="l">
              <a:buNone/>
              <a:defRPr sz="1425">
                <a:solidFill>
                  <a:schemeClr val="bg1"/>
                </a:solidFill>
              </a:defRPr>
            </a:lvl5pPr>
            <a:lvl6pPr marL="0" indent="0" algn="l">
              <a:buNone/>
              <a:defRPr sz="1425">
                <a:solidFill>
                  <a:schemeClr val="bg1"/>
                </a:solidFill>
              </a:defRPr>
            </a:lvl6pPr>
            <a:lvl7pPr marL="0" indent="0" algn="l">
              <a:buNone/>
              <a:defRPr sz="1425">
                <a:solidFill>
                  <a:schemeClr val="bg1"/>
                </a:solidFill>
              </a:defRPr>
            </a:lvl7pPr>
            <a:lvl8pPr marL="0" indent="0" algn="l">
              <a:buNone/>
              <a:defRPr sz="1425">
                <a:solidFill>
                  <a:schemeClr val="bg1"/>
                </a:solidFill>
              </a:defRPr>
            </a:lvl8pPr>
            <a:lvl9pPr marL="0" indent="0" algn="l">
              <a:buNone/>
              <a:defRPr sz="14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D71B4A2-7E07-4038-841A-B9EDC4DFB1FC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147034" y="617155"/>
            <a:ext cx="29973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867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3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425">
                <a:solidFill>
                  <a:schemeClr val="bg1"/>
                </a:solidFill>
              </a:defRPr>
            </a:lvl1pPr>
            <a:lvl2pPr marL="0" indent="0" algn="l">
              <a:buNone/>
              <a:defRPr sz="1425">
                <a:solidFill>
                  <a:schemeClr val="bg1"/>
                </a:solidFill>
              </a:defRPr>
            </a:lvl2pPr>
            <a:lvl3pPr marL="0" indent="0" algn="l">
              <a:buNone/>
              <a:defRPr sz="1425">
                <a:solidFill>
                  <a:schemeClr val="bg1"/>
                </a:solidFill>
              </a:defRPr>
            </a:lvl3pPr>
            <a:lvl4pPr marL="0" indent="0" algn="l">
              <a:buNone/>
              <a:defRPr sz="1425">
                <a:solidFill>
                  <a:schemeClr val="bg1"/>
                </a:solidFill>
              </a:defRPr>
            </a:lvl4pPr>
            <a:lvl5pPr marL="0" indent="0" algn="l">
              <a:buNone/>
              <a:defRPr sz="1425">
                <a:solidFill>
                  <a:schemeClr val="bg1"/>
                </a:solidFill>
              </a:defRPr>
            </a:lvl5pPr>
            <a:lvl6pPr marL="0" indent="0" algn="l">
              <a:buNone/>
              <a:defRPr sz="1425">
                <a:solidFill>
                  <a:schemeClr val="bg1"/>
                </a:solidFill>
              </a:defRPr>
            </a:lvl6pPr>
            <a:lvl7pPr marL="0" indent="0" algn="l">
              <a:buNone/>
              <a:defRPr sz="1425">
                <a:solidFill>
                  <a:schemeClr val="bg1"/>
                </a:solidFill>
              </a:defRPr>
            </a:lvl7pPr>
            <a:lvl8pPr marL="0" indent="0" algn="l">
              <a:buNone/>
              <a:defRPr sz="1425">
                <a:solidFill>
                  <a:schemeClr val="bg1"/>
                </a:solidFill>
              </a:defRPr>
            </a:lvl8pPr>
            <a:lvl9pPr marL="0" indent="0" algn="l">
              <a:buNone/>
              <a:defRPr sz="14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F9E1607-A93A-4F91-A89D-9FD4146C1AC7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48298" y="617323"/>
            <a:ext cx="296475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622"/>
              <a:endParaRPr lang="en-US" sz="1425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347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8" y="551660"/>
            <a:ext cx="8101054" cy="5933095"/>
          </a:xfrm>
        </p:spPr>
        <p:txBody>
          <a:bodyPr anchor="ctr"/>
          <a:lstStyle>
            <a:lvl1pPr marL="0" indent="0" algn="l">
              <a:buNone/>
              <a:defRPr sz="5025">
                <a:solidFill>
                  <a:schemeClr val="tx2"/>
                </a:solidFill>
              </a:defRPr>
            </a:lvl1pPr>
            <a:lvl2pPr marL="0" indent="0" algn="l">
              <a:buNone/>
              <a:defRPr sz="5025">
                <a:solidFill>
                  <a:schemeClr val="tx2"/>
                </a:solidFill>
              </a:defRPr>
            </a:lvl2pPr>
            <a:lvl3pPr marL="0" indent="0" algn="l">
              <a:buNone/>
              <a:defRPr sz="5025">
                <a:solidFill>
                  <a:schemeClr val="tx2"/>
                </a:solidFill>
              </a:defRPr>
            </a:lvl3pPr>
            <a:lvl4pPr marL="0" indent="0" algn="l">
              <a:buNone/>
              <a:defRPr sz="5025">
                <a:solidFill>
                  <a:schemeClr val="tx2"/>
                </a:solidFill>
              </a:defRPr>
            </a:lvl4pPr>
            <a:lvl5pPr marL="0" indent="0" algn="l">
              <a:buNone/>
              <a:defRPr sz="5025">
                <a:solidFill>
                  <a:schemeClr val="tx2"/>
                </a:solidFill>
              </a:defRPr>
            </a:lvl5pPr>
            <a:lvl6pPr marL="0" indent="0" algn="l">
              <a:buNone/>
              <a:defRPr sz="5025">
                <a:solidFill>
                  <a:schemeClr val="tx2"/>
                </a:solidFill>
              </a:defRPr>
            </a:lvl6pPr>
            <a:lvl7pPr marL="0" indent="0" algn="l">
              <a:buNone/>
              <a:defRPr sz="5025">
                <a:solidFill>
                  <a:schemeClr val="tx2"/>
                </a:solidFill>
              </a:defRPr>
            </a:lvl7pPr>
            <a:lvl8pPr marL="0" indent="0" algn="l">
              <a:buNone/>
              <a:defRPr sz="5025">
                <a:solidFill>
                  <a:schemeClr val="tx2"/>
                </a:solidFill>
              </a:defRPr>
            </a:lvl8pPr>
            <a:lvl9pPr marL="0" indent="0" algn="l">
              <a:buNone/>
              <a:defRPr sz="5025">
                <a:solidFill>
                  <a:schemeClr val="tx2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DC7553-D80D-44A3-8916-9D60B9CEB6D2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973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B4B8A7-FCF9-43C9-B64E-095C264F6F09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6858000"/>
          </a:xfrm>
        </p:spPr>
        <p:txBody>
          <a:bodyPr tIns="539893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98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2"/>
            <a:ext cx="6149396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3" rIns="68567" bIns="34283" rtlCol="0" anchor="ctr"/>
          <a:lstStyle/>
          <a:p>
            <a:pPr algn="ctr"/>
            <a:endParaRPr lang="en-GB" sz="13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4" y="1732423"/>
            <a:ext cx="4036649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9783E8-2E4F-40ED-9357-32DE96CC11AB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2424948"/>
            <a:ext cx="4036649" cy="1620000"/>
          </a:xfrm>
        </p:spPr>
        <p:txBody>
          <a:bodyPr anchor="t"/>
          <a:lstStyle>
            <a:lvl1pPr>
              <a:defRPr sz="4125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40" y="4262151"/>
            <a:ext cx="2700351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1" y="2"/>
            <a:ext cx="2204435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67" tIns="34283" rIns="68567" bIns="34283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38435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2"/>
            <a:ext cx="6149396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3" rIns="68567" bIns="34283" rtlCol="0" anchor="ctr"/>
          <a:lstStyle/>
          <a:p>
            <a:pPr algn="ctr"/>
            <a:endParaRPr lang="en-GB" sz="13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9" y="1732764"/>
            <a:ext cx="4036647" cy="592617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AB0D21-A70C-4DCA-9404-2DF6873EAE6E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2424948"/>
            <a:ext cx="4036649" cy="1620000"/>
          </a:xfrm>
        </p:spPr>
        <p:txBody>
          <a:bodyPr anchor="t"/>
          <a:lstStyle>
            <a:lvl1pPr>
              <a:defRPr sz="4125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40" y="4262151"/>
            <a:ext cx="2700351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1" y="2"/>
            <a:ext cx="2204435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67" tIns="34283" rIns="68567" bIns="34283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74346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2"/>
            <a:ext cx="6149396" cy="6877051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3" rIns="68567" bIns="34283" rtlCol="0" anchor="ctr"/>
          <a:lstStyle/>
          <a:p>
            <a:pPr algn="ctr"/>
            <a:endParaRPr lang="en-GB" sz="13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9" y="1732764"/>
            <a:ext cx="4036647" cy="592617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D832A4B-4D19-4EC2-BF4A-DCE76A882546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2424948"/>
            <a:ext cx="4036649" cy="1620000"/>
          </a:xfrm>
        </p:spPr>
        <p:txBody>
          <a:bodyPr anchor="t"/>
          <a:lstStyle>
            <a:lvl1pPr>
              <a:defRPr sz="4125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9" y="4041070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62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40" y="4262151"/>
            <a:ext cx="2700351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25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39893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1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1" y="2"/>
            <a:ext cx="2204435" cy="6877051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67" tIns="34283" rIns="68567" bIns="34283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8384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737094" y="1735141"/>
            <a:ext cx="8101054" cy="47496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3" rIns="68567" bIns="34283" rtlCol="0" anchor="ctr"/>
          <a:lstStyle/>
          <a:p>
            <a:pPr algn="ctr"/>
            <a:r>
              <a:rPr lang="en-US" sz="1350" dirty="0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F459B22-A481-490B-956C-B3394EA68859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736461" y="590938"/>
            <a:ext cx="8101054" cy="4550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dirty="0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" y="2"/>
            <a:ext cx="9144000" cy="6858003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2.93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2.54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12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0.51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3.17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3.57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6.22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1.85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6856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00" dirty="0">
                  <a:solidFill>
                    <a:schemeClr val="accent6"/>
                  </a:solidFill>
                </a:rPr>
                <a:t>8,49</a:t>
              </a:r>
              <a:endParaRPr lang="en-US" sz="6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94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6856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00" dirty="0">
                  <a:solidFill>
                    <a:schemeClr val="accent6"/>
                  </a:solidFill>
                </a:rPr>
                <a:t>1,40</a:t>
              </a:r>
              <a:endParaRPr lang="en-US" sz="6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525" dirty="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525" dirty="0">
                  <a:solidFill>
                    <a:schemeClr val="tx2"/>
                  </a:solidFill>
                </a:rPr>
                <a:t>0.31</a:t>
              </a:r>
              <a:endParaRPr lang="en-US" sz="525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525" dirty="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525" dirty="0">
                  <a:solidFill>
                    <a:schemeClr val="tx2"/>
                  </a:solidFill>
                </a:rPr>
                <a:t>0.75</a:t>
              </a:r>
              <a:endParaRPr lang="en-US" sz="525" dirty="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737094" y="1735141"/>
            <a:ext cx="8101054" cy="474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3" rIns="68567" bIns="34283" rtlCol="0" anchor="ctr"/>
          <a:lstStyle/>
          <a:p>
            <a:pPr algn="ctr"/>
            <a:r>
              <a:rPr lang="en-US" sz="1350" dirty="0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7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29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8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68314" y="1627188"/>
            <a:ext cx="8207374" cy="453866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/>
              <a:t>Text in Arial Regular 18pt</a:t>
            </a:r>
          </a:p>
          <a:p>
            <a:pPr lvl="1"/>
            <a:r>
              <a:rPr lang="en-US" noProof="0"/>
              <a:t>First level</a:t>
            </a:r>
          </a:p>
          <a:p>
            <a:pPr lvl="2"/>
            <a:r>
              <a:rPr lang="en-US" noProof="0"/>
              <a:t>Second level</a:t>
            </a:r>
          </a:p>
          <a:p>
            <a:pPr lvl="3"/>
            <a:r>
              <a:rPr lang="en-US" noProof="0"/>
              <a:t>Third level</a:t>
            </a:r>
          </a:p>
          <a:p>
            <a:pPr lvl="4"/>
            <a:r>
              <a:rPr lang="en-US" noProof="0"/>
              <a:t>Four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8" y="6424615"/>
            <a:ext cx="600115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76767"/>
                </a:solidFill>
              </a:rPr>
              <a:t>• Bayer Group 4:3 Template • January 2016</a:t>
            </a:r>
          </a:p>
        </p:txBody>
      </p:sp>
      <p:sp>
        <p:nvSpPr>
          <p:cNvPr id="13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5"/>
            <a:ext cx="481808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682829"/>
      </p:ext>
    </p:extLst>
  </p:cSld>
  <p:clrMapOvr>
    <a:masterClrMapping/>
  </p:clrMapOvr>
  <p:transition>
    <p:wip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8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8" y="6424615"/>
            <a:ext cx="600115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76767"/>
                </a:solidFill>
              </a:rPr>
              <a:t>• Bayer Group 4:3 Template • January 2016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5"/>
            <a:ext cx="481808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585661"/>
      </p:ext>
    </p:extLst>
  </p:cSld>
  <p:clrMapOvr>
    <a:masterClrMapping/>
  </p:clrMapOvr>
  <p:transition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CD836640-3A80-4C5E-9CEE-E702FCE4C7D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7040AF0D-204D-4D82-8168-5014985A370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FC1FAEDD-94C2-41C1-806D-A4A114DA4FB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F89931-CE47-4669-A58D-81E978CF58DE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10034351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61284" y="1622429"/>
            <a:ext cx="8430051" cy="4176477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61284" y="0"/>
            <a:ext cx="7317813" cy="1301730"/>
          </a:xfrm>
          <a:prstGeom prst="rect">
            <a:avLst/>
          </a:prstGeom>
        </p:spPr>
        <p:txBody>
          <a:bodyPr vert="horz" lIns="0" tIns="0" rIns="0" bIns="60358" rtlCol="0" anchor="b">
            <a:noAutofit/>
          </a:bodyPr>
          <a:lstStyle>
            <a:lvl1pPr>
              <a:defRPr sz="15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64999" y="5798907"/>
            <a:ext cx="7031048" cy="89804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525"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defRPr sz="525">
                <a:solidFill>
                  <a:schemeClr val="tx1"/>
                </a:solidFill>
              </a:defRPr>
            </a:lvl2pPr>
            <a:lvl3pPr marL="998" indent="0">
              <a:defRPr sz="525">
                <a:solidFill>
                  <a:schemeClr val="tx1"/>
                </a:solidFill>
              </a:defRPr>
            </a:lvl3pPr>
            <a:lvl4pPr marL="1993" indent="0">
              <a:defRPr sz="525">
                <a:solidFill>
                  <a:schemeClr val="tx1"/>
                </a:solidFill>
              </a:defRPr>
            </a:lvl4pPr>
            <a:lvl5pPr marL="1993" indent="0">
              <a:defRPr sz="525">
                <a:solidFill>
                  <a:schemeClr val="tx1"/>
                </a:solidFill>
              </a:defRPr>
            </a:lvl5pPr>
            <a:lvl6pPr marL="0" indent="0">
              <a:defRPr sz="525">
                <a:solidFill>
                  <a:schemeClr val="tx1"/>
                </a:solidFill>
              </a:defRPr>
            </a:lvl6pPr>
            <a:lvl7pPr marL="0" indent="0" algn="l">
              <a:defRPr sz="525">
                <a:solidFill>
                  <a:schemeClr val="tx1"/>
                </a:solidFill>
              </a:defRPr>
            </a:lvl7pPr>
            <a:lvl8pPr marL="0" indent="0">
              <a:defRPr sz="525">
                <a:solidFill>
                  <a:schemeClr val="tx1"/>
                </a:solidFill>
              </a:defRPr>
            </a:lvl8pPr>
            <a:lvl9pPr marL="0" indent="0">
              <a:defRPr sz="525"/>
            </a:lvl9pPr>
          </a:lstStyle>
          <a:p>
            <a:r>
              <a:rPr lang="ru-RU">
                <a:solidFill>
                  <a:srgbClr val="FFFFFF">
                    <a:lumMod val="50000"/>
                  </a:srgbClr>
                </a:solidFill>
              </a:rPr>
              <a:t>Клайра</a:t>
            </a:r>
            <a:r>
              <a:rPr lang="en-US">
                <a:solidFill>
                  <a:srgbClr val="FFFFFF">
                    <a:lumMod val="50000"/>
                  </a:srgbClr>
                </a:solidFill>
              </a:rPr>
              <a:t> Template 16:9 • Juli 2017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7521784" y="6400344"/>
            <a:ext cx="420947" cy="2966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25">
                <a:solidFill>
                  <a:schemeClr val="bg1">
                    <a:lumMod val="50000"/>
                  </a:schemeClr>
                </a:solidFill>
              </a:defRPr>
            </a:lvl1pPr>
            <a:lvl2pPr marL="998" indent="0" algn="l">
              <a:defRPr sz="525">
                <a:solidFill>
                  <a:schemeClr val="tx1"/>
                </a:solidFill>
              </a:defRPr>
            </a:lvl2pPr>
            <a:lvl3pPr marL="0" indent="0" algn="l">
              <a:defRPr sz="525">
                <a:solidFill>
                  <a:schemeClr val="tx1"/>
                </a:solidFill>
              </a:defRPr>
            </a:lvl3pPr>
            <a:lvl4pPr marL="0" indent="0" algn="l">
              <a:defRPr sz="525">
                <a:solidFill>
                  <a:schemeClr val="tx1"/>
                </a:solidFill>
              </a:defRPr>
            </a:lvl4pPr>
            <a:lvl5pPr marL="0" indent="0" algn="l">
              <a:defRPr sz="525">
                <a:solidFill>
                  <a:schemeClr val="tx1"/>
                </a:solidFill>
              </a:defRPr>
            </a:lvl5pPr>
            <a:lvl6pPr marL="0" indent="0" algn="l">
              <a:defRPr sz="525">
                <a:solidFill>
                  <a:schemeClr val="tx1"/>
                </a:solidFill>
              </a:defRPr>
            </a:lvl6pPr>
            <a:lvl7pPr marL="0" indent="0" algn="l">
              <a:defRPr sz="525">
                <a:solidFill>
                  <a:schemeClr val="tx1"/>
                </a:solidFill>
              </a:defRPr>
            </a:lvl7pPr>
            <a:lvl8pPr marL="0" indent="0" algn="l">
              <a:defRPr sz="525">
                <a:solidFill>
                  <a:schemeClr val="tx1"/>
                </a:solidFill>
              </a:defRPr>
            </a:lvl8pPr>
            <a:lvl9pPr marL="0" indent="0" algn="l">
              <a:defRPr sz="525"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44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39CB9-F8FB-4DA7-8CB2-AAE07B15D29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9DC79-C9C3-4313-8951-AE950BC943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02854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4000" cy="6857464"/>
          </a:xfrm>
          <a:prstGeom prst="rect">
            <a:avLst/>
          </a:prstGeom>
        </p:spPr>
      </p:pic>
      <p:sp>
        <p:nvSpPr>
          <p:cNvPr id="7" name="Slide Number Placeholder 8"/>
          <p:cNvSpPr txBox="1">
            <a:spLocks/>
          </p:cNvSpPr>
          <p:nvPr userDrawn="1"/>
        </p:nvSpPr>
        <p:spPr>
          <a:xfrm>
            <a:off x="6590798" y="6064815"/>
            <a:ext cx="2133554" cy="364205"/>
          </a:xfrm>
          <a:prstGeom prst="rect">
            <a:avLst/>
          </a:prstGeom>
        </p:spPr>
        <p:txBody>
          <a:bodyPr lIns="63874" tIns="31937" rIns="63874" bIns="31937" anchor="ctr"/>
          <a:lstStyle>
            <a:defPPr>
              <a:defRPr lang="en-US"/>
            </a:defPPr>
            <a:lvl1pPr algn="r" defTabSz="496888" rtl="0" eaLnBrk="1" fontAlgn="base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n-cs"/>
              </a:defRPr>
            </a:lvl1pPr>
            <a:lvl2pPr marL="496888" indent="-39688"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2pPr>
            <a:lvl3pPr marL="995363" indent="-80963"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3pPr>
            <a:lvl4pPr marL="1492250" indent="-120650"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4pPr>
            <a:lvl5pPr marL="1990725" indent="-161925"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Palatino Linotype" charset="0"/>
                <a:ea typeface="MS PGothic" charset="-128"/>
                <a:cs typeface="+mn-cs"/>
              </a:defRPr>
            </a:lvl9pPr>
          </a:lstStyle>
          <a:p>
            <a:pPr>
              <a:defRPr/>
            </a:pPr>
            <a:fld id="{C356CE85-B30D-4BE6-BD5F-5B9B347DB2A4}" type="slidenum">
              <a:rPr lang="en-US" altLang="en-US" sz="770" smtClean="0"/>
              <a:pPr>
                <a:defRPr/>
              </a:pPr>
              <a:t>‹#›</a:t>
            </a:fld>
            <a:endParaRPr lang="en-US" altLang="en-US" sz="77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78" y="475389"/>
            <a:ext cx="7672532" cy="891916"/>
          </a:xfrm>
        </p:spPr>
        <p:txBody>
          <a:bodyPr/>
          <a:lstStyle>
            <a:lvl1pPr algn="l">
              <a:defRPr sz="15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678" y="1600780"/>
            <a:ext cx="7672532" cy="4525935"/>
          </a:xfrm>
        </p:spPr>
        <p:txBody>
          <a:bodyPr/>
          <a:lstStyle>
            <a:lvl1pPr>
              <a:defRPr sz="1283"/>
            </a:lvl1pPr>
            <a:lvl2pPr>
              <a:defRPr sz="1283"/>
            </a:lvl2pPr>
            <a:lvl3pPr>
              <a:defRPr sz="1283"/>
            </a:lvl3pPr>
            <a:lvl4pPr>
              <a:defRPr sz="1283"/>
            </a:lvl4pPr>
            <a:lvl5pPr>
              <a:defRPr sz="1283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3602" y="169264"/>
            <a:ext cx="7678863" cy="267756"/>
          </a:xfrm>
        </p:spPr>
        <p:txBody>
          <a:bodyPr/>
          <a:lstStyle>
            <a:lvl1pPr marL="0" indent="0">
              <a:buNone/>
              <a:defRPr sz="1155">
                <a:solidFill>
                  <a:schemeClr val="tx1"/>
                </a:solidFill>
              </a:defRPr>
            </a:lvl1pPr>
            <a:lvl2pPr marL="319834" indent="0">
              <a:buNone/>
              <a:defRPr sz="1283">
                <a:solidFill>
                  <a:schemeClr val="tx1"/>
                </a:solidFill>
              </a:defRPr>
            </a:lvl2pPr>
            <a:lvl3pPr marL="638650" indent="0">
              <a:buNone/>
              <a:defRPr sz="1283">
                <a:solidFill>
                  <a:schemeClr val="tx1"/>
                </a:solidFill>
              </a:defRPr>
            </a:lvl3pPr>
            <a:lvl4pPr marL="958484" indent="0">
              <a:buNone/>
              <a:defRPr sz="1283">
                <a:solidFill>
                  <a:schemeClr val="tx1"/>
                </a:solidFill>
              </a:defRPr>
            </a:lvl4pPr>
            <a:lvl5pPr marL="1277299" indent="0">
              <a:buNone/>
              <a:defRPr sz="128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338056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424783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4735FA-B65E-4F49-9672-58F108E0F0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1" y="1122363"/>
            <a:ext cx="6858000" cy="2387600"/>
          </a:xfrm>
        </p:spPr>
        <p:txBody>
          <a:bodyPr anchor="b"/>
          <a:lstStyle>
            <a:lvl1pPr algn="ctr">
              <a:defRPr sz="44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29EEDC4-28F0-4329-B10A-41AA2AE5C1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1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66" indent="0" algn="ctr">
              <a:buNone/>
              <a:defRPr sz="1500"/>
            </a:lvl2pPr>
            <a:lvl3pPr marL="685732" indent="0" algn="ctr">
              <a:buNone/>
              <a:defRPr sz="1350"/>
            </a:lvl3pPr>
            <a:lvl4pPr marL="1028597" indent="0" algn="ctr">
              <a:buNone/>
              <a:defRPr sz="1200"/>
            </a:lvl4pPr>
            <a:lvl5pPr marL="1371463" indent="0" algn="ctr">
              <a:buNone/>
              <a:defRPr sz="1200"/>
            </a:lvl5pPr>
            <a:lvl6pPr marL="1714328" indent="0" algn="ctr">
              <a:buNone/>
              <a:defRPr sz="1200"/>
            </a:lvl6pPr>
            <a:lvl7pPr marL="2057195" indent="0" algn="ctr">
              <a:buNone/>
              <a:defRPr sz="1200"/>
            </a:lvl7pPr>
            <a:lvl8pPr marL="2400060" indent="0" algn="ctr">
              <a:buNone/>
              <a:defRPr sz="1200"/>
            </a:lvl8pPr>
            <a:lvl9pPr marL="2742926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873FD6-1D84-4B95-8EA5-5020671D8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F5C62-37C1-4DE9-A91B-8DB6B7BF1DE6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A58CF5D-12DD-44BB-81EF-DF6C6F02D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FB3DCB-359E-4AA5-8C1E-FF633E79F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AD48C-9554-4FB4-B828-A05AEB0ABA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72721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612779" y="1412876"/>
            <a:ext cx="8278813" cy="1123384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 dirty="0"/>
          </a:p>
        </p:txBody>
      </p:sp>
      <p:graphicFrame>
        <p:nvGraphicFramePr>
          <p:cNvPr id="7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62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2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75326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E995BB3-4456-4369-807F-D40290149F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7B4C3A-E856-46BF-9960-1740EF8044FC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1A1D9E-682A-4A6D-9ED9-52DBF2A2C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601BD74-E57C-466A-AE2D-41614188A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C0898-B93A-4C75-BA79-08EFDD1AC2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954914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3945EB-B899-4F13-80D4-8D14F573F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7DAB9-1E26-4A69-8AAB-36E51B2FABE9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C1D344D-F988-418D-B203-6F3CEA0456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C8AEE0D-2D22-456C-903E-3F76E9F9E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18A8B-104D-4417-BD0A-0D8214A5FC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6521300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3F86AC-247B-4BAD-B742-B55834B08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CB6D54-F588-4106-A509-C429F4C4872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B1B04F3-89EC-41D8-B489-077FAD647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73CF90A-B100-44D5-83EB-9804556A1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53B69-EBDC-498E-BF5E-CB5AFF35775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9284453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5822F7EF-8623-43D8-A708-1DD0258F6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35C971-D0B1-4B3D-AA93-731469FE7BA5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F0D50C58-39F1-47DC-8CDD-8B728FAE6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24A118AD-3946-4581-B336-823CED5FA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BA85E4-0A86-4AFF-9757-87C91625C1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197479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5CFE045F-E3EF-4CE9-8F15-9B6A96FE947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DEA17ACC-1932-49E5-AC6D-7C8740B8901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7BBDFC11-A40B-40A5-B909-2037F6A975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CD3C11-D533-4E59-A351-4317F2128A9D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76942447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4C687924-E62C-4F32-A71F-DB907DE04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BA37C0-492B-4AEF-8428-00486C288A99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805ABC43-B5E4-4DAC-8788-26F170EAB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4AB3DF28-55CB-4774-ADD8-75842F8F0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E6E83B-AAA8-4EE2-B43C-CFAE7AAC7F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348052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E36F42C9-152A-448E-BEA6-B0C00EB37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A166D-6171-4616-AE5E-63E3B1C68CD6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D2C32FD1-6449-4494-9E63-18142DC84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E42066CD-BABC-4D40-81E8-1CF4AF067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65E01-81A0-4EE7-87F0-DD96B0599E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363767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FF8C480A-152B-4C26-8639-3F191EC7E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4B9728-3203-459C-B2BD-5063618105A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D3D786EB-5912-4468-BF07-B7138C2F2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B1063F1-4F02-4E40-8174-3AD798F7E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3D312-15ED-4BF1-B4BB-222B3AEC21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390415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49A37634-A425-466C-BBCE-FEB29943C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A18B5-D35E-48FA-B7B7-BDDC9D6EFC45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C7E2E931-8C92-42BD-A5E4-B8A8AE57F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21B3A93A-D710-4AB3-93FE-FD1B95C7A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352604-5D94-4CBC-9636-CA2C392B1A5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4260597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F195001E-A267-467F-A6F1-0D31723855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76040A-99FC-4A83-918D-AADC8A663683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7345C152-8B94-48E6-A606-DC5E103C8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6CBDD11-7742-471F-8D37-26358A974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6B6B7C-4222-4B85-8A5B-6A7FAEA810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121533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48893AD-96AF-4702-AFBF-9996D4E8A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625D40-F2BF-4CAC-AD5B-78167D899DB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2EB4452-BDA5-49F7-8FB6-379F1E9C7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2BED3B-E794-43BD-9C17-5B07FE36D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382AF-82AB-4CB4-9F58-DB78F36BA1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86351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83F468-3286-4256-9484-56B0804FC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A4758-F64C-4D0D-AB49-3746026BC385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A057455-DDB6-4AE2-9781-90A311894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B0334A9-B4BF-478C-B242-9AE38BC87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B8115-2F95-4DA8-833D-DBDEA4ED9A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67767108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A1CC4D-B169-473C-8114-406F62A2FB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36587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B17CC4-884C-415C-BE8E-B6E19AB8B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65875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37687FE-FC5A-4A4F-9C3A-BD2F62291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6587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6D3CD-BADB-4048-843A-72E7BB2513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892998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1_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45AFB2-63A2-42AB-BC6F-15BF05461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3A40DA-77B2-4EB3-BEAE-2B9C3724E77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97C64CF-3472-4FF2-8104-130B74620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8604044-750B-427F-A35F-3C54DB04D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97C43A-6954-4802-949A-923DF3870F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232431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0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aphicFrame>
        <p:nvGraphicFramePr>
          <p:cNvPr id="16" name="Object 19"/>
          <p:cNvGraphicFramePr>
            <a:graphicFrameLocks noChangeAspect="1"/>
          </p:cNvGraphicFramePr>
          <p:nvPr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6840" imgH="456840" progId="">
                  <p:embed/>
                </p:oleObj>
              </mc:Choice>
              <mc:Fallback>
                <p:oleObj name="CorelDRAW" r:id="rId2" imgW="456840" imgH="456840" progId="">
                  <p:embed/>
                  <p:pic>
                    <p:nvPicPr>
                      <p:cNvPr id="16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/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2D1D6-A579-4DD1-ADC6-309C8B38BB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7795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F880AA97-14A0-4E98-84E4-AF77DA2331E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73F0F457-CBF3-4BF1-94DC-362DD364C68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E07931A1-684C-40EC-A8D1-9B3E76D03E3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D6B2D-8EBF-4A72-AC47-422B1CFDF8D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59547137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96754-F60E-4523-8900-37E97F4F6E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006379"/>
      </p:ext>
    </p:extLst>
  </p:cSld>
  <p:clrMapOvr>
    <a:masterClrMapping/>
  </p:clrMapOvr>
  <p:transition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B2BEC-9C06-4F49-B103-A9B26FE05E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184993"/>
      </p:ext>
    </p:extLst>
  </p:cSld>
  <p:clrMapOvr>
    <a:masterClrMapping/>
  </p:clrMapOvr>
  <p:transition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CBDB5E-45DF-4EEB-957C-3B780043BC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9043127"/>
      </p:ext>
    </p:extLst>
  </p:cSld>
  <p:clrMapOvr>
    <a:masterClrMapping/>
  </p:clrMapOvr>
  <p:transition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704CE-53EA-46AC-BBC6-2661A97AD0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994449"/>
      </p:ext>
    </p:extLst>
  </p:cSld>
  <p:clrMapOvr>
    <a:masterClrMapping/>
  </p:clrMapOvr>
  <p:transition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95E10-66CA-4683-9A06-1BE3E73504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5465447"/>
      </p:ext>
    </p:extLst>
  </p:cSld>
  <p:clrMapOvr>
    <a:masterClrMapping/>
  </p:clrMapOvr>
  <p:transition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CAF2E-489F-4D55-9F02-0E36C302D7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3506956"/>
      </p:ext>
    </p:extLst>
  </p:cSld>
  <p:clrMapOvr>
    <a:masterClrMapping/>
  </p:clrMapOvr>
  <p:transition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A92EB-6879-4757-83FD-B9D11956A1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437608"/>
      </p:ext>
    </p:extLst>
  </p:cSld>
  <p:clrMapOvr>
    <a:masterClrMapping/>
  </p:clrMapOvr>
  <p:transition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AF1DF-C1DF-4466-9EB4-66FDD5295F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953591"/>
      </p:ext>
    </p:extLst>
  </p:cSld>
  <p:clrMapOvr>
    <a:masterClrMapping/>
  </p:clrMapOvr>
  <p:transition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5438E4-0EB3-4A29-8D10-92C475212C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7251325"/>
      </p:ext>
    </p:extLst>
  </p:cSld>
  <p:clrMapOvr>
    <a:masterClrMapping/>
  </p:clrMapOvr>
  <p:transition/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26664-DBF0-41CB-BF88-D1D69292A9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34649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3F4A227A-EE91-4CDA-9E07-1BCD37AEED45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CE8F7BC8-B1CC-48C8-BEB5-07D16117429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8DEA8EA9-8419-4ED6-8E0B-19A9D22C8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 sz="2400">
                <a:solidFill>
                  <a:srgbClr val="F8F8F8"/>
                </a:solidFill>
                <a:latin typeface="Times New Roman" pitchFamily="18" charset="0"/>
              </a:endParaRPr>
            </a:p>
          </p:txBody>
        </p:sp>
      </p:grpSp>
      <p:grpSp>
        <p:nvGrpSpPr>
          <p:cNvPr id="7" name="Group 5">
            <a:extLst>
              <a:ext uri="{FF2B5EF4-FFF2-40B4-BE49-F238E27FC236}">
                <a16:creationId xmlns:a16="http://schemas.microsoft.com/office/drawing/2014/main" id="{FD93D32B-93C0-416D-A97D-5BFD66544A56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11172E0B-1118-4579-A657-96E14ED1E2B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2AFE8A11-C643-4F6B-B302-BEB8D66BAC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pSp>
        <p:nvGrpSpPr>
          <p:cNvPr id="10" name="Group 8">
            <a:extLst>
              <a:ext uri="{FF2B5EF4-FFF2-40B4-BE49-F238E27FC236}">
                <a16:creationId xmlns:a16="http://schemas.microsoft.com/office/drawing/2014/main" id="{CBDA62E5-E54A-47EB-8738-94310B616F28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B66FF64-C19F-4845-8FEA-2E3572727A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F5384857-011F-466F-A9A9-C6B0E27C791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A94699EB-9878-4242-98EB-409AD3C5308D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943C9B12-5D6A-4232-BE91-2C04488BF66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9E4120DC-B11C-4F9B-A6A5-9B45EBC3D3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aphicFrame>
        <p:nvGraphicFramePr>
          <p:cNvPr id="16" name="Object 19">
            <a:extLst>
              <a:ext uri="{FF2B5EF4-FFF2-40B4-BE49-F238E27FC236}">
                <a16:creationId xmlns:a16="http://schemas.microsoft.com/office/drawing/2014/main" id="{65743571-5620-4F61-A079-1C9CCCFCEB5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6" name="Object 19">
                        <a:extLst>
                          <a:ext uri="{FF2B5EF4-FFF2-40B4-BE49-F238E27FC236}">
                            <a16:creationId xmlns:a16="http://schemas.microsoft.com/office/drawing/2014/main" id="{65743571-5620-4F61-A079-1C9CCCFCEB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CA46B6-36A4-41F6-96C8-15B787E05B10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F15BF9-59B1-4EC6-8A2D-6C57A67DC9B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D761A0-84D6-47BA-99A6-95FF00BF808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16054-FF51-467B-B455-3CEA4FB658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37668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F5B3C45E-F38B-4675-9400-A9574A070EA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E578F654-36E9-415D-8ABA-8EF043BD51D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6CA3DA01-8C22-40CE-90AC-B9CB5FA677D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BD3C0C-1ADA-4D94-B946-146D4B03334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375586206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356685-3579-4310-BFC1-C87FC7AB9D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9705367-43DB-4400-9E28-9A1B65AB9F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C73F0F-9595-4882-B67F-D392B0882F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F2ED47-22FE-4FBC-938F-E2BB1D7F6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988921-7E9D-4D31-98B0-64B83BE72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475743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43AD07-728F-441C-8FAA-ACDD1F61B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F809051-7E8D-419F-9ADE-BED9BF5672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9CE44AE-78CA-4EBA-A3C6-37B25F4FF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D9B7B66-7801-4739-9630-DAD79CE61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DEF9F05-DD29-445B-BE23-2E882A9DF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15481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BD0818-257D-4878-A7E7-1FFC913F6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4E8D837-6090-4260-96FE-E73B904411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9D550B-1CEB-4E51-9BF1-19822CFC7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F8A025C-5694-478D-BA7F-567398DBE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4A84CE4-2DA7-407C-9E48-6FA333CBE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7570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95470F-60CC-4038-A093-08D3D7710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E06351A-4F6E-42F6-A711-EBCAB32CD4E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D3CA115-477C-475B-9F2C-2025485F39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589A14-3A06-419C-A099-027FCDD8B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06424A-5595-48B3-9DA1-E84A09136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DEACDE7-3C8B-4B5B-A9D2-F3D272946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562001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65C220-04DA-4FC7-AE48-33ADD809D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783417-5F1B-42C4-8952-E678895FFC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A45BF96-6E9B-40C2-982B-C9ECCE7DBA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0C81255-728E-4948-A1B2-58E2C2CCD8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1FBDBD6-3D18-4498-B767-EAE7FE456C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2ECDE74-AC41-421E-B61E-A597CFA0B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C4F7B5E-3591-468B-870E-ED72AD0DE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7DF8DC6-FC51-48E4-BE92-39F6E0708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002293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AEA886-82D7-40D7-8625-E42F6F32C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DF50ECD-F807-49D5-8A34-20104B17D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5B6E185-47E5-4B87-943E-6CFCCB318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A1F75E9-CE6C-4994-A3AD-F79083997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92718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838ACAE-F9C2-4EE8-AC51-F9F3AF409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0BCF861-8C3B-4DD6-B56E-C2194EF19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C86DC86-5D63-43DD-9911-826A64322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35649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69B213-2FB7-4215-9344-8BBB8576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37C1934-2A78-46EA-AFED-915E64E97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10F5FF9-16D8-4DA4-9C15-55ED54DFFC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6D1B858-9016-4F86-A5C8-91007451F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D0ED195-D136-44ED-AE40-CB9847F7D3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E79C650-02E0-433F-83F1-F5584ECFB9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88151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CA541F-532C-479B-9230-A895EF326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CC2D6C57-6796-419C-891C-724360877A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F997917-F608-4F77-BD80-10BE8EE736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6A8F397-DBA7-40CE-B69B-E331ED0AE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1EEA65D-1DBA-4BA2-9B92-85731ACDF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C135D52-5141-46B8-9027-70EF1BF60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7809605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DAE405-C7E9-480D-B6A4-31DCE1401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9678892-DA34-4BF0-B721-3545A9E2A9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67E37BF-5832-4DF3-AFD3-D60C40D63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6C41AD-A0CB-4E9C-B2F5-E2EDAA4DB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8331D10-0564-44D3-954B-810259C9C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7322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3C7AA43A-7B88-47E1-9AE3-F492DA664E1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A9A6C4D-5C43-430D-8787-505B4E1707E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89B3DDB5-ECEF-4B58-BA0A-1B7BBA60158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30316F-45CF-46E0-A975-93CA328CAF79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94877746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CAF9759-F7BF-40F4-89E9-122A4A0372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0BFC7FF-1B59-4D49-945A-34BC763905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ACACEA-A657-4F53-A101-888E82531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1A62F44-CA4D-4935-979B-806E4727A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B86DA5-3C6C-4933-8526-C4857FA35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919463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3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60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162398987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75C6948-052C-4ACF-AF74-FD3F103E9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A0F13-6CBC-4CF7-8638-55FD4BD0E0F9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370AC9D-3C5E-41A4-A6EC-4A704C764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BA5E93-8237-42F9-8A2A-67A4F1954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271B8-D1C4-4149-B396-32A9B20D71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208498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5A1441-495A-429F-A42C-AA9EFB10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29BC6-0664-48A2-851B-96ECFCE7ACC7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3059CD-4F3A-47A1-B4A6-AF3D723A6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9B5572-56BD-4CF5-BA86-EF1F0132C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9454C-7452-4E87-B5E3-5A402C5F46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78992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2C808FB-1B74-45D1-BD55-3D9FB124C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CCDFC-12E0-465C-8FBD-B180D7B235C4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A0082D-350D-42DA-9347-5D87249A8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AA705C-888E-4C1D-9ECF-A38DA94DB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04FB43-EC62-4933-9018-060CCCE28C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8789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220436C-AC4B-426F-82C6-FE531463F5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DB5E9-E2BB-41E4-8CD7-3C21EF0D5F87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CAC1A7F7-D8B6-4CFC-B269-A794C64EE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44B0034-7233-484E-AD1E-ABD1B87BD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737D5D-F2E1-4E6C-80BC-475304B716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30180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404B51DE-8C90-4403-A057-5CFEC6507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6E2B39-179B-40B1-9FE5-7796C7ADC091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5B81CC3B-71D9-40A7-8AA6-199C0D7D8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6FFF9A7-183C-4143-A66D-AFCED94AB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CC9450-3001-438B-9DC9-58C3625356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760438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AB01AB62-1746-4B34-944E-C5657D71A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FE4183-774D-423F-883C-5F8DE0AB3BCC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D085A487-F7BD-4665-8218-0432389E0B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19A2D804-8F03-474A-B33D-35BFFA069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35DAD-24B6-4377-A552-D78A655CEB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92982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8FC1C9AA-6317-4441-8D7C-7AC6E8367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12F0F-C0A7-410A-B14B-F65B522886A1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BC772899-3D73-47E8-81C4-1FD8897DB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B51F93E2-8E55-4F50-9EC6-35AEB5DE0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77D95C-F9BB-42F7-A2DC-0F18A5C943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99448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8FED29EB-0F90-46C0-BE14-16A5B526D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1606D-650B-4AD5-B3E8-0794C8ADA6C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B011D349-C920-4042-BFAC-2874C44A6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C9B9EE2-DEB6-4120-ABB3-EA30869CB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BA30D4-02A7-488E-987B-B7CED9405C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04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BBC45EB5-16A9-4116-A250-3A09C236083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869BAFF-FFAB-4C4E-81B2-E2DBA9E74FD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7FB6EFE2-C28A-4BD3-A43C-ED41DA44E94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5BF3E4-0038-4B1A-B2F2-707E028AD67D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87502131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FACFFE75-AE66-4AD9-8266-B1A3BE04C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4A1CA8-1AEA-4206-B6FB-C722DD87F0B6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FCD7C7C2-0CC1-45B2-91E8-A92891AFE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15F95CBB-FED7-46DA-92FC-9CCAC26F4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660E3A-654A-42E2-8B18-6104128C25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07674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6CBC22E-2953-43C6-A2EB-707755E58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FCF94-D02F-42DD-B341-452F3830D058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12BB14D-6E22-470A-93A8-52F87A1F84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45DE0-4D58-4D66-BC31-D766A1E46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AD05AE-350B-4A2A-9267-1C506857D6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36349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F0AAAB-EE0B-412F-A582-3078F0647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70E7C9-A7BE-435D-BAA3-D5E64685675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F34CA4D-B6F1-44C4-9E80-A475C22BC7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51EC04D-391A-4477-8CC3-E52BC1B4FF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CED10-975E-46DF-87A6-53E60647BB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6832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D7830725-04F8-4598-8FAA-4F99DFD38D1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  <a:endParaRPr lang="de-DE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0D3992C-FFBE-4C58-8FFA-1271DA7A7B6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01B18F-8EAA-45E1-9EE2-26D0B4F0186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287286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62AF0D2-079B-425B-A573-5C9673C8AD39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  <a:endParaRPr lang="de-DE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AD9AB41-5D4B-4EBB-9C92-1F9CE5A351D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67C0B1-059C-4A25-9D53-D8FB99DB251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13254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BFF163D8-A5BB-489C-91C5-AF0AD489E30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  <a:endParaRPr lang="de-DE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6176F414-0B80-4F04-A95E-81DAD88B7B7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036869-4972-4993-81F6-7115D61FA61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527453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BD1A25F-FE04-4A57-8868-D165FDEB7C1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C0C0A66-9F28-4E7C-92F7-82C80101B2F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3999BF-5B7D-485E-B0D2-702780CB3EC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3228950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0AEE69A2-376E-4244-B967-3FBFB05E48E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746EAA74-11A2-43C1-81D2-ADABE842FE16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8A161-D8B1-4DAB-93E7-0C8B05986D0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227530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612EED2A-7E9C-4944-9439-FB04BF29491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C7AD520-6126-4A70-A224-4EB02134F8E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0EC705-9113-41EA-97A3-6FC8B1C06DF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195860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>
            <a:extLst>
              <a:ext uri="{FF2B5EF4-FFF2-40B4-BE49-F238E27FC236}">
                <a16:creationId xmlns:a16="http://schemas.microsoft.com/office/drawing/2014/main" id="{546452C1-ABBA-477A-B998-945D1D9A7FC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7FD8FFA9-6BA4-4137-8EFA-866BDE06003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29B24-306E-4AC9-BF9E-7B81C077ED4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26047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96100" y="838200"/>
            <a:ext cx="1943100" cy="5378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66800" y="838200"/>
            <a:ext cx="5676900" cy="5378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0DB9B101-18E1-4FD9-AEC1-D3DE50A226F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D4813342-FFA3-480D-9B26-9DFE5B0B7DF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1326E043-65E4-4B8F-B5F0-0AD5DCA3816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A671DF-A49D-41F4-9E75-F8CDE256BD96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854446728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B1DD5B2-12A1-41F9-8CE3-2CDC869503C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796736D-CB9D-4478-91ED-12984FD826F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E43C4-CB36-4122-A525-31759B846D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749015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48673C7-7A07-4953-B0AF-C031FF3B4C3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437026D-AA66-4930-BED5-6541A7EB2C5A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A8FB9-E4AD-4F6B-9862-7ACF7CBD009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646284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7A46F690-AFA0-498A-88A9-F35E27AA8511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F7F11FE-D46D-47B7-B2E9-7D3AD72E0E4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09D56-2B31-4930-AFC5-2AF78350554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7633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4D4268D-DC13-4EA1-9095-7A403DE17DD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3EBCD5B-1C17-468C-824B-6DDB64062D9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8B08C-ECC4-4A38-9ED7-0322F1791CE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719354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D4DADC0-5C87-494B-885A-9E5D429F5ED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  <a:endParaRPr lang="de-DE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AFAFB21-7B28-4625-95AB-7B8B70FE862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0FC399-6E31-4FD8-BB56-F188C4DEB9E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549626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701DD088-7261-4C5A-9A2C-22A0A4E6436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93DA622-6858-456A-8EC7-944DCA9DD45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80C807-0A01-4E44-A441-F02C55F975D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349082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D8302F4B-37EE-4636-9FBD-882E09F963D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35C1D49-CC45-4620-AE31-A119E6A11E3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3AFB8F-8EF1-427C-ABD1-419995AC107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188908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lipArt-Platzhalter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1C6F664-1D1E-40FD-ABE4-510A6F3E333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50C24C7-E735-4AB7-BED5-42FF7E73DB4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BB9AE6-4CF2-4459-884F-8DB5392C41C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95235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3EFA5239-3A4B-4B98-9875-24A29654938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C19EDB7-575B-43DD-9EAE-8AE2F4637FF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AB92A7-7874-48FE-8FE4-F4864A3A812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961380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C091A09-5FDB-4245-9048-B8D6DF576DD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05555915-543A-412A-A579-5C9E11E8B73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29FDB8-A468-4C1A-A865-F1ABF016CB0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955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AE68DE4A-5B43-4538-A8BA-A96B850A392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7CB84E4B-DA6D-4021-B6DD-642AC6BB526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F5DD753C-6EC9-4BB7-8BE4-4378C5BEEF4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BD530-68CD-4691-94FF-37362140D3D9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509091924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ufende Folie (Schrift: Blau;Punk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540000" y="1716067"/>
            <a:ext cx="8100000" cy="4509370"/>
          </a:xfrm>
          <a:prstGeom prst="rect">
            <a:avLst/>
          </a:prstGeom>
        </p:spPr>
        <p:txBody>
          <a:bodyPr/>
          <a:lstStyle>
            <a:lvl1pPr marL="174625" indent="-174625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1pPr>
            <a:lvl2pPr marL="627063" indent="-16986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2pPr>
            <a:lvl3pPr marL="1077913" indent="-16351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3pPr>
            <a:lvl4pPr marL="1528763" indent="-15716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4pPr>
            <a:lvl5pPr marL="1979613" indent="-15081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1285860"/>
            <a:ext cx="8100000" cy="360000"/>
          </a:xfrm>
          <a:prstGeom prst="rect">
            <a:avLst/>
          </a:prstGeom>
        </p:spPr>
        <p:txBody>
          <a:bodyPr/>
          <a:lstStyle>
            <a:lvl1pPr algn="l">
              <a:defRPr sz="2600" b="1">
                <a:solidFill>
                  <a:srgbClr val="00457D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48B3EE27-A284-4FDE-9D88-239D685D7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3C8218B6-0B01-435B-B2E4-399189727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601C43B-5B1F-4188-AA12-64D6109B737D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7" name="Datumsplatzhalter 4">
            <a:extLst>
              <a:ext uri="{FF2B5EF4-FFF2-40B4-BE49-F238E27FC236}">
                <a16:creationId xmlns:a16="http://schemas.microsoft.com/office/drawing/2014/main" id="{549FC146-D6DD-43BE-9845-669D7AFBA1B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14313" y="6572250"/>
            <a:ext cx="2133600" cy="2857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7230348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309586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EF0299-5D5D-469F-B611-32060A1A1611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58014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F5E406-12D1-43E4-8842-90A6F9A204B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70606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68C8E-C535-480A-8057-9E4A60E88E9F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849519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30693-A299-415A-B578-5A65207A6214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6920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4F8D17-37B2-4820-BAF1-BC24C93B366C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01872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408AFB-A649-422B-943F-EB7D280FEE7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08630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886575" y="6667320"/>
            <a:ext cx="2133600" cy="2342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408AFB-A649-422B-943F-EB7D280FEE7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73764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59E38-53D7-4C58-8D5D-08EE37C615C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7184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066800" y="210185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4E4BA132-9186-410C-BCBA-B4FA0ED0421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00FCEB8-FD75-4FA2-ACBD-95ACD38FF46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FF7B71BA-96C2-485C-8AA6-CF9F50D248B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2569F4-1EB6-49A4-9F0E-3480E858B17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260325406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968D7-585C-4F8C-97BD-E97263F7EA57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44715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44D22-3C18-4842-B29A-90F20FF7E96B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05596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D9ADF-EF97-42A4-A671-5FC288026A03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65886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6DA6C-B648-4296-ADF8-64549CF3A10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62657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62D42E-1E27-4A0B-84D4-CB0DA10BC77B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67282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36986-37D3-4457-9511-AEDBE7B38EC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067892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lipArt-Platzhalter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88BC35-0EFB-4687-9A37-C5975C294861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321952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E6D58C-3836-43A8-BE39-F049D41B0D5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927208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2EFECA-1BA2-48F6-9659-599E91AB8300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961867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ufende Folie (Schrift: Blau;Punk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540000" y="1716067"/>
            <a:ext cx="8100000" cy="4509370"/>
          </a:xfrm>
          <a:prstGeom prst="rect">
            <a:avLst/>
          </a:prstGeom>
        </p:spPr>
        <p:txBody>
          <a:bodyPr/>
          <a:lstStyle>
            <a:lvl1pPr marL="174625" indent="-174625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1pPr>
            <a:lvl2pPr marL="627063" indent="-16986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2pPr>
            <a:lvl3pPr marL="1077913" indent="-16351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3pPr>
            <a:lvl4pPr marL="1528763" indent="-15716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4pPr>
            <a:lvl5pPr marL="1979613" indent="-150813">
              <a:buClr>
                <a:srgbClr val="97BF0D"/>
              </a:buClr>
              <a:buSzPct val="100000"/>
              <a:buFont typeface="Arial" pitchFamily="34" charset="0"/>
              <a:buChar char="•"/>
              <a:defRPr sz="2200">
                <a:solidFill>
                  <a:srgbClr val="00457D"/>
                </a:solidFill>
                <a:latin typeface="Verdan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1285860"/>
            <a:ext cx="8100000" cy="360000"/>
          </a:xfrm>
          <a:prstGeom prst="rect">
            <a:avLst/>
          </a:prstGeom>
        </p:spPr>
        <p:txBody>
          <a:bodyPr/>
          <a:lstStyle>
            <a:lvl1pPr algn="l">
              <a:defRPr sz="2600" b="1">
                <a:solidFill>
                  <a:srgbClr val="00457D"/>
                </a:solidFill>
                <a:latin typeface="Verdana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© Bionorica/GT/July 2016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7B0F8-C4F8-40E4-A618-03493E0F5798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3"/>
          </p:nvPr>
        </p:nvSpPr>
        <p:spPr>
          <a:xfrm>
            <a:off x="214313" y="6572250"/>
            <a:ext cx="21336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98756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29200" y="2101850"/>
            <a:ext cx="381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29200" y="4235450"/>
            <a:ext cx="381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EAE49E7-FC9D-4343-8B77-9A714E321F8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6AE0D248-54B7-4642-AD36-DD46BB84C64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906F2E3E-FFA8-4AD3-A44F-2EDBF8C59C3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A7FF5E-2AA9-4DD6-A1B7-6A6F8355392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24294838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0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aphicFrame>
        <p:nvGraphicFramePr>
          <p:cNvPr id="16" name="Object 19"/>
          <p:cNvGraphicFramePr>
            <a:graphicFrameLocks noChangeAspect="1"/>
          </p:cNvGraphicFramePr>
          <p:nvPr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6840" imgH="456840" progId="">
                  <p:embed/>
                </p:oleObj>
              </mc:Choice>
              <mc:Fallback>
                <p:oleObj name="CorelDRAW" r:id="rId2" imgW="456840" imgH="456840" progId="">
                  <p:embed/>
                  <p:pic>
                    <p:nvPicPr>
                      <p:cNvPr id="16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/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2D1D6-A579-4DD1-ADC6-309C8B38BB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7771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96754-F60E-4523-8900-37E97F4F6E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347002"/>
      </p:ext>
    </p:extLst>
  </p:cSld>
  <p:clrMapOvr>
    <a:masterClrMapping/>
  </p:clrMapOvr>
  <p:transition/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B2BEC-9C06-4F49-B103-A9B26FE05E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378849"/>
      </p:ext>
    </p:extLst>
  </p:cSld>
  <p:clrMapOvr>
    <a:masterClrMapping/>
  </p:clrMapOvr>
  <p:transition/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CBDB5E-45DF-4EEB-957C-3B780043BC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1534414"/>
      </p:ext>
    </p:extLst>
  </p:cSld>
  <p:clrMapOvr>
    <a:masterClrMapping/>
  </p:clrMapOvr>
  <p:transition/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704CE-53EA-46AC-BBC6-2661A97AD0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359196"/>
      </p:ext>
    </p:extLst>
  </p:cSld>
  <p:clrMapOvr>
    <a:masterClrMapping/>
  </p:clrMapOvr>
  <p:transition/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95E10-66CA-4683-9A06-1BE3E73504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386820"/>
      </p:ext>
    </p:extLst>
  </p:cSld>
  <p:clrMapOvr>
    <a:masterClrMapping/>
  </p:clrMapOvr>
  <p:transition/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CAF2E-489F-4D55-9F02-0E36C302D7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7206299"/>
      </p:ext>
    </p:extLst>
  </p:cSld>
  <p:clrMapOvr>
    <a:masterClrMapping/>
  </p:clrMapOvr>
  <p:transition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A92EB-6879-4757-83FD-B9D11956A1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3514608"/>
      </p:ext>
    </p:extLst>
  </p:cSld>
  <p:clrMapOvr>
    <a:masterClrMapping/>
  </p:clrMapOvr>
  <p:transition/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AF1DF-C1DF-4466-9EB4-66FDD5295F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3239296"/>
      </p:ext>
    </p:extLst>
  </p:cSld>
  <p:clrMapOvr>
    <a:masterClrMapping/>
  </p:clrMapOvr>
  <p:transition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5438E4-0EB3-4A29-8D10-92C475212C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504357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066800" y="210185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18F27587-8C9B-4A69-A078-6C50DA373D8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8F05674-4AA9-41BF-8684-E43A4A2FEDD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064D454C-A010-453F-84F4-A234CD32753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0060C8-74DE-46FF-96CB-8A9B280190C7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265259024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26664-DBF0-41CB-BF88-D1D69292A9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017302"/>
      </p:ext>
    </p:extLst>
  </p:cSld>
  <p:clrMapOvr>
    <a:masterClrMapping/>
  </p:clrMapOvr>
  <p:transition/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2"/>
            <a:ext cx="2715767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698B990-D559-4914-8205-EA88EDD5B08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80" y="0"/>
            <a:ext cx="6087007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6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01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2"/>
            <a:ext cx="2715767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B743F6C-4D7F-4D01-9086-A5518DFF3C18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79" y="0"/>
            <a:ext cx="6085222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907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2"/>
            <a:ext cx="2715767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F43ECF7-BF7C-403B-BC9A-585F8BFE669A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58780" y="0"/>
            <a:ext cx="6087008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37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482767" y="403540"/>
            <a:ext cx="7218941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1504199" y="1843721"/>
            <a:ext cx="3510457" cy="4641030"/>
          </a:xfrm>
        </p:spPr>
        <p:txBody>
          <a:bodyPr/>
          <a:lstStyle>
            <a:lvl1pPr marL="202500" indent="-202500">
              <a:spcBef>
                <a:spcPts val="1350"/>
              </a:spcBef>
              <a:spcAft>
                <a:spcPts val="0"/>
              </a:spcAft>
              <a:buFontTx/>
              <a:buBlip>
                <a:blip r:embed="rId2"/>
              </a:buBlip>
              <a:defRPr sz="1500"/>
            </a:lvl1pPr>
            <a:lvl2pPr marL="405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3"/>
              </a:buBlip>
              <a:defRPr sz="1500"/>
            </a:lvl2pPr>
            <a:lvl3pPr marL="6075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4"/>
              </a:buBlip>
              <a:defRPr sz="1500"/>
            </a:lvl3pPr>
            <a:lvl4pPr marL="810000" indent="-202500">
              <a:spcBef>
                <a:spcPts val="450"/>
              </a:spcBef>
              <a:spcAft>
                <a:spcPts val="0"/>
              </a:spcAft>
              <a:buFontTx/>
              <a:buBlip>
                <a:blip r:embed="rId5"/>
              </a:buBlip>
              <a:defRPr sz="1500"/>
            </a:lvl4pPr>
            <a:lvl5pPr>
              <a:spcBef>
                <a:spcPts val="450"/>
              </a:spcBef>
              <a:spcAft>
                <a:spcPts val="0"/>
              </a:spcAft>
              <a:defRPr sz="1500"/>
            </a:lvl5pPr>
            <a:lvl6pPr>
              <a:spcBef>
                <a:spcPts val="450"/>
              </a:spcBef>
              <a:spcAft>
                <a:spcPts val="0"/>
              </a:spcAft>
              <a:defRPr sz="1500"/>
            </a:lvl6pPr>
            <a:lvl7pPr>
              <a:spcBef>
                <a:spcPts val="450"/>
              </a:spcBef>
              <a:spcAft>
                <a:spcPts val="0"/>
              </a:spcAft>
              <a:defRPr sz="1500"/>
            </a:lvl7pPr>
            <a:lvl8pPr>
              <a:spcBef>
                <a:spcPts val="450"/>
              </a:spcBef>
              <a:spcAft>
                <a:spcPts val="0"/>
              </a:spcAft>
              <a:defRPr sz="1500"/>
            </a:lvl8pPr>
            <a:lvl9pPr>
              <a:spcBef>
                <a:spcPts val="450"/>
              </a:spcBef>
              <a:spcAft>
                <a:spcPts val="0"/>
              </a:spcAft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B7FE079-5268-4D6D-BD81-59763F2E64F1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731100" y="6617933"/>
            <a:ext cx="4283556" cy="108000"/>
          </a:xfrm>
        </p:spPr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46902" y="6617933"/>
            <a:ext cx="294283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5853939" y="1"/>
            <a:ext cx="3290061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144877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1578637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C3A2B61-F495-46F1-9475-3E90B426D424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135241" y="3064854"/>
            <a:ext cx="3375440" cy="72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5" y="617323"/>
            <a:ext cx="296474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357639" y="1473904"/>
            <a:ext cx="3105404" cy="1440753"/>
          </a:xfrm>
        </p:spPr>
        <p:txBody>
          <a:bodyPr anchor="b"/>
          <a:lstStyle>
            <a:lvl1pPr algn="r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3533043" y="1"/>
            <a:ext cx="1945386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6260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4305506" y="0"/>
            <a:ext cx="4838495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2"/>
            <a:ext cx="1578637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09442" y="2989335"/>
            <a:ext cx="3375440" cy="1440753"/>
          </a:xfrm>
        </p:spPr>
        <p:txBody>
          <a:bodyPr anchor="t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1ECBF0-4783-4CAE-A731-6F7DF4C26F02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426828" y="2134650"/>
            <a:ext cx="3375440" cy="720000"/>
          </a:xfrm>
        </p:spPr>
        <p:txBody>
          <a:bodyPr anchor="b"/>
          <a:lstStyle>
            <a:lvl1pPr marL="0" indent="0" algn="r">
              <a:buNone/>
              <a:defRPr sz="1800" b="1">
                <a:solidFill>
                  <a:schemeClr val="accent1"/>
                </a:solidFill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5" y="617323"/>
            <a:ext cx="296474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946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2"/>
            <a:ext cx="1578637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3641232" y="1462160"/>
            <a:ext cx="3375440" cy="1440753"/>
          </a:xfrm>
        </p:spPr>
        <p:txBody>
          <a:bodyPr anchor="b"/>
          <a:lstStyle>
            <a:lvl1pPr algn="l">
              <a:defRPr sz="36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9D3F075-9CCE-4D55-8F0C-A144B26176F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219"/>
          <p:cNvGrpSpPr>
            <a:grpSpLocks noChangeAspect="1"/>
          </p:cNvGrpSpPr>
          <p:nvPr/>
        </p:nvGrpSpPr>
        <p:grpSpPr bwMode="gray">
          <a:xfrm>
            <a:off x="148295" y="617323"/>
            <a:ext cx="296474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25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</p:grp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292449" y="3064854"/>
            <a:ext cx="3375440" cy="720000"/>
          </a:xfrm>
        </p:spPr>
        <p:txBody>
          <a:bodyPr anchor="t"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0" indent="0" algn="l">
              <a:buNone/>
              <a:defRPr sz="1800" b="1">
                <a:solidFill>
                  <a:schemeClr val="accent3"/>
                </a:solidFill>
              </a:defRPr>
            </a:lvl2pPr>
            <a:lvl3pPr marL="0" indent="0" algn="l">
              <a:buNone/>
              <a:defRPr sz="1800" b="1">
                <a:solidFill>
                  <a:schemeClr val="accent3"/>
                </a:solidFill>
              </a:defRPr>
            </a:lvl3pPr>
            <a:lvl4pPr marL="0" indent="0" algn="l">
              <a:buNone/>
              <a:defRPr sz="1800" b="1">
                <a:solidFill>
                  <a:schemeClr val="accent3"/>
                </a:solidFill>
              </a:defRPr>
            </a:lvl4pPr>
            <a:lvl5pPr marL="0" indent="0" algn="l">
              <a:buNone/>
              <a:defRPr sz="1800" b="1">
                <a:solidFill>
                  <a:schemeClr val="accent3"/>
                </a:solidFill>
              </a:defRPr>
            </a:lvl5pPr>
            <a:lvl6pPr marL="0" indent="0" algn="l">
              <a:buNone/>
              <a:defRPr sz="1800" b="1">
                <a:solidFill>
                  <a:schemeClr val="accent3"/>
                </a:solidFill>
              </a:defRPr>
            </a:lvl6pPr>
            <a:lvl7pPr marL="0" indent="0" algn="l">
              <a:buNone/>
              <a:defRPr sz="1800" b="1">
                <a:solidFill>
                  <a:schemeClr val="accent3"/>
                </a:solidFill>
              </a:defRPr>
            </a:lvl7pPr>
            <a:lvl8pPr marL="0" indent="0" algn="l">
              <a:buNone/>
              <a:defRPr sz="1800" b="1">
                <a:solidFill>
                  <a:schemeClr val="accent3"/>
                </a:solidFill>
              </a:defRPr>
            </a:lvl8pPr>
            <a:lvl9pPr marL="0" indent="0" algn="l">
              <a:buNone/>
              <a:defRPr sz="18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569781" y="1"/>
            <a:ext cx="3112042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4907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24C802-45F6-47A4-9A9B-A1424174609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7" y="1732751"/>
            <a:ext cx="8101055" cy="47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67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1138299"/>
            <a:ext cx="8099391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8DE82E4-0A5C-4998-ABEA-F30912097991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5308" y="1732750"/>
            <a:ext cx="3915510" cy="475200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343" y="1732750"/>
            <a:ext cx="3915510" cy="4752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47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772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1066800" y="210185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029200" y="2101850"/>
            <a:ext cx="381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C590F4B5-0B9F-407A-9DB2-63A62B3A5DA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35EDBA4F-18AE-4D00-BD36-B60AF22BCA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3B1984B9-9B40-4F5B-B1B0-0A0F21E8508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7256D-AF54-4566-9D1B-22BE19909CD6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3646765887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5308" y="1138299"/>
            <a:ext cx="8100632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C4C885A-D5EA-46E0-8356-3278CD3C26FE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735307" y="3892751"/>
            <a:ext cx="3915510" cy="25920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920430" y="3892751"/>
            <a:ext cx="391551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735307" y="1732750"/>
            <a:ext cx="391551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4920430" y="1732750"/>
            <a:ext cx="391551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5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6462" y="181938"/>
            <a:ext cx="8099900" cy="864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2733835-15DF-4A87-AEFC-29E4A01CA446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81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2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DACFD9-1B9B-401C-8B9A-CD1D1FFC9FF2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08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736462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</a:defRPr>
            </a:lvl2pPr>
            <a:lvl3pPr marL="0" indent="0" algn="l">
              <a:buNone/>
              <a:defRPr sz="1350">
                <a:solidFill>
                  <a:schemeClr val="bg1"/>
                </a:solidFill>
              </a:defRPr>
            </a:lvl3pPr>
            <a:lvl4pPr marL="0" indent="0" algn="l">
              <a:buNone/>
              <a:defRPr sz="1350">
                <a:solidFill>
                  <a:schemeClr val="bg1"/>
                </a:solidFill>
              </a:defRPr>
            </a:lvl4pPr>
            <a:lvl5pPr marL="0" indent="0" algn="l">
              <a:buNone/>
              <a:defRPr sz="1350">
                <a:solidFill>
                  <a:schemeClr val="bg1"/>
                </a:solidFill>
              </a:defRPr>
            </a:lvl5pPr>
            <a:lvl6pPr marL="0" indent="0" algn="l">
              <a:buNone/>
              <a:defRPr sz="1350">
                <a:solidFill>
                  <a:schemeClr val="bg1"/>
                </a:solidFill>
              </a:defRPr>
            </a:lvl6pPr>
            <a:lvl7pPr marL="0" indent="0" algn="l">
              <a:buNone/>
              <a:defRPr sz="1350">
                <a:solidFill>
                  <a:schemeClr val="bg1"/>
                </a:solidFill>
              </a:defRPr>
            </a:lvl7pPr>
            <a:lvl8pPr marL="0" indent="0" algn="l">
              <a:buNone/>
              <a:defRPr sz="1350">
                <a:solidFill>
                  <a:schemeClr val="bg1"/>
                </a:solidFill>
              </a:defRPr>
            </a:lvl8pPr>
            <a:lvl9pPr marL="0" indent="0" algn="l">
              <a:buNone/>
              <a:defRPr sz="13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D66F5BD-BFB6-4D49-A4C4-AE446C139577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219"/>
          <p:cNvGrpSpPr>
            <a:grpSpLocks noChangeAspect="1"/>
          </p:cNvGrpSpPr>
          <p:nvPr/>
        </p:nvGrpSpPr>
        <p:grpSpPr bwMode="black">
          <a:xfrm>
            <a:off x="148295" y="617323"/>
            <a:ext cx="296474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10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686760"/>
              <a:endParaRPr lang="en-US" sz="1352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748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735307" y="551657"/>
            <a:ext cx="8101055" cy="5933094"/>
          </a:xfrm>
        </p:spPr>
        <p:txBody>
          <a:bodyPr anchor="ctr"/>
          <a:lstStyle>
            <a:lvl1pPr marL="0" indent="0" algn="l">
              <a:buNone/>
              <a:defRPr sz="4950">
                <a:solidFill>
                  <a:schemeClr val="tx2"/>
                </a:solidFill>
              </a:defRPr>
            </a:lvl1pPr>
            <a:lvl2pPr marL="0" indent="0" algn="l">
              <a:buNone/>
              <a:defRPr sz="4950">
                <a:solidFill>
                  <a:schemeClr val="tx2"/>
                </a:solidFill>
              </a:defRPr>
            </a:lvl2pPr>
            <a:lvl3pPr marL="0" indent="0" algn="l">
              <a:buNone/>
              <a:defRPr sz="4950">
                <a:solidFill>
                  <a:schemeClr val="tx2"/>
                </a:solidFill>
              </a:defRPr>
            </a:lvl3pPr>
            <a:lvl4pPr marL="0" indent="0" algn="l">
              <a:buNone/>
              <a:defRPr sz="4950">
                <a:solidFill>
                  <a:schemeClr val="tx2"/>
                </a:solidFill>
              </a:defRPr>
            </a:lvl4pPr>
            <a:lvl5pPr marL="0" indent="0" algn="l">
              <a:buNone/>
              <a:defRPr sz="4950">
                <a:solidFill>
                  <a:schemeClr val="tx2"/>
                </a:solidFill>
              </a:defRPr>
            </a:lvl5pPr>
            <a:lvl6pPr marL="0" indent="0" algn="l">
              <a:buNone/>
              <a:defRPr sz="4950">
                <a:solidFill>
                  <a:schemeClr val="tx2"/>
                </a:solidFill>
              </a:defRPr>
            </a:lvl6pPr>
            <a:lvl7pPr marL="0" indent="0" algn="l">
              <a:buNone/>
              <a:defRPr sz="4950">
                <a:solidFill>
                  <a:schemeClr val="tx2"/>
                </a:solidFill>
              </a:defRPr>
            </a:lvl7pPr>
            <a:lvl8pPr marL="0" indent="0" algn="l">
              <a:buNone/>
              <a:defRPr sz="4950">
                <a:solidFill>
                  <a:schemeClr val="tx2"/>
                </a:solidFill>
              </a:defRPr>
            </a:lvl8pPr>
            <a:lvl9pPr marL="0" indent="0" algn="l">
              <a:buNone/>
              <a:defRPr sz="4950">
                <a:solidFill>
                  <a:schemeClr val="tx2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F4362-D9C8-4CAA-A867-D614BD07C865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88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8824F8-3464-4B5F-B88C-6BD2A89621B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9144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02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6149396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4" y="1732422"/>
            <a:ext cx="4036649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A23A5-D488-4943-9D4C-569BB9A67E6B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2424948"/>
            <a:ext cx="4036649" cy="1620000"/>
          </a:xfrm>
        </p:spPr>
        <p:txBody>
          <a:bodyPr anchor="t"/>
          <a:lstStyle>
            <a:lvl1pPr>
              <a:defRPr sz="4050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37" y="4262151"/>
            <a:ext cx="2700352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0" y="0"/>
            <a:ext cx="2204435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734471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6149396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5" y="1732759"/>
            <a:ext cx="4036648" cy="592617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C3082B6-F57B-49F5-9110-13577C2E30D0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2424948"/>
            <a:ext cx="4036649" cy="1620000"/>
          </a:xfrm>
        </p:spPr>
        <p:txBody>
          <a:bodyPr anchor="t"/>
          <a:lstStyle>
            <a:lvl1pPr>
              <a:defRPr sz="4050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37" y="4262151"/>
            <a:ext cx="2700352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0" y="0"/>
            <a:ext cx="2204435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05707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>
          <a:xfrm flipV="1">
            <a:off x="1" y="0"/>
            <a:ext cx="6149396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4" y="1732759"/>
            <a:ext cx="4036648" cy="592617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96E6C0C-1B37-44ED-8166-1417570AF58E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5" y="2424948"/>
            <a:ext cx="4036649" cy="1620000"/>
          </a:xfrm>
        </p:spPr>
        <p:txBody>
          <a:bodyPr anchor="t"/>
          <a:lstStyle>
            <a:lvl1pPr>
              <a:defRPr sz="405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060937" y="4262151"/>
            <a:ext cx="2700352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4572537" y="0"/>
            <a:ext cx="4571464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auto">
          <a:xfrm>
            <a:off x="3834000" y="0"/>
            <a:ext cx="2204435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898992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737094" y="1735137"/>
            <a:ext cx="8101055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Please restrict your content to this are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E127ED3-DE54-4A5C-85D7-B7203C1EA415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736461" y="590935"/>
            <a:ext cx="8101055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dirty="0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" y="0"/>
            <a:ext cx="9144000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982664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7824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0395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56342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4115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3771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9290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35672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98266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14,20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5.59</a:t>
              </a:r>
            </a:p>
            <a:p>
              <a:pPr algn="l"/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30538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7,45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2.93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77247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6,45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2.54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82295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12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566371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0.51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611900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8,06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3.17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357295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9,06</a:t>
              </a:r>
            </a:p>
            <a:p>
              <a:pPr algn="l"/>
              <a:r>
                <a:rPr lang="de-DE" sz="600" dirty="0">
                  <a:solidFill>
                    <a:schemeClr val="accent6"/>
                  </a:solidFill>
                </a:rPr>
                <a:t>3.57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398374" y="2143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15,8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6.22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808730" y="1741637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1.85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808730" y="62442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00" dirty="0">
                  <a:solidFill>
                    <a:schemeClr val="accent6"/>
                  </a:solidFill>
                </a:rPr>
                <a:t>8,49</a:t>
              </a:r>
              <a:endParaRPr lang="en-US" sz="6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808730" y="4289945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94</a:t>
              </a:r>
              <a:endParaRPr lang="en-US" sz="600" dirty="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808730" y="3694362"/>
              <a:ext cx="381000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600" dirty="0">
                  <a:solidFill>
                    <a:schemeClr val="accent6"/>
                  </a:solidFill>
                </a:rPr>
                <a:t>1,40</a:t>
              </a:r>
              <a:endParaRPr lang="en-US" sz="6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600" dirty="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380857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181724" y="26194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450" dirty="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360320" y="26194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450" dirty="0">
                  <a:solidFill>
                    <a:schemeClr val="tx2"/>
                  </a:solidFill>
                </a:rPr>
                <a:t>0.31</a:t>
              </a:r>
              <a:endParaRPr lang="en-US" sz="450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965895" y="4006695"/>
              <a:ext cx="223835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450" dirty="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956369" y="4129086"/>
              <a:ext cx="233361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450" dirty="0">
                  <a:solidFill>
                    <a:schemeClr val="tx2"/>
                  </a:solidFill>
                </a:rPr>
                <a:t>0.75</a:t>
              </a:r>
              <a:endParaRPr lang="en-US" sz="450" dirty="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737094" y="1735137"/>
            <a:ext cx="8101055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7033" y="617155"/>
            <a:ext cx="29986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68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>
            <a:extLst>
              <a:ext uri="{FF2B5EF4-FFF2-40B4-BE49-F238E27FC236}">
                <a16:creationId xmlns:a16="http://schemas.microsoft.com/office/drawing/2014/main" id="{58869369-4BB1-4151-A894-2A90CFC30D5A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6E50ED2E-265F-4AFA-927B-605089240E3B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FCC8CDC9-C050-4A5B-9E78-75F9567C7AAC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B1B6AF1A-CF3E-4916-BD09-31BA455FA0C2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E19B7C69-C359-4593-8AEC-35960B21862F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930D6BAB-F36B-4FF9-AD79-286C9DE7F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8A676652-CA1A-4694-BA22-7B3F735DD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75B3ECEC-C0C7-4048-8EF9-07AB3526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6EABB33D-21C5-4FEC-8AB2-901ECBBBFD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0983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E53083-7C3C-4164-937C-1340430E5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81973E8-4776-4305-95B1-22D59A5C19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9776B01-02B6-40EB-B1AC-7227B41E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1DCA9-3037-4F15-BD73-35CFCF01F1F9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9232565-351F-4E3C-B8FB-9C88A49F8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4D03368-0ECD-4A6E-BC7F-3E84F62AA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14A3A-261A-40B6-AF54-046B577F0E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25872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4" y="1138299"/>
            <a:ext cx="8099899" cy="25200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0" indent="0" algn="l">
              <a:buNone/>
              <a:defRPr sz="1400">
                <a:solidFill>
                  <a:schemeClr val="accent1"/>
                </a:solidFill>
              </a:defRPr>
            </a:lvl2pPr>
            <a:lvl3pPr marL="0" indent="0" algn="l">
              <a:buNone/>
              <a:defRPr sz="1400">
                <a:solidFill>
                  <a:schemeClr val="accent1"/>
                </a:solidFill>
              </a:defRPr>
            </a:lvl3pPr>
            <a:lvl4pPr marL="0" indent="0" algn="l">
              <a:buNone/>
              <a:defRPr sz="1400">
                <a:solidFill>
                  <a:schemeClr val="accent1"/>
                </a:solidFill>
              </a:defRPr>
            </a:lvl4pPr>
            <a:lvl5pPr marL="0" indent="0" algn="l">
              <a:buNone/>
              <a:defRPr sz="1400">
                <a:solidFill>
                  <a:schemeClr val="accent1"/>
                </a:solidFill>
              </a:defRPr>
            </a:lvl5pPr>
            <a:lvl6pPr marL="0" indent="0" algn="l">
              <a:buNone/>
              <a:defRPr sz="1400">
                <a:solidFill>
                  <a:schemeClr val="accent1"/>
                </a:solidFill>
              </a:defRPr>
            </a:lvl6pPr>
            <a:lvl7pPr marL="0" indent="0" algn="l">
              <a:buNone/>
              <a:defRPr sz="1400">
                <a:solidFill>
                  <a:schemeClr val="accent1"/>
                </a:solidFill>
              </a:defRPr>
            </a:lvl7pPr>
            <a:lvl8pPr marL="0" indent="0" algn="l">
              <a:buNone/>
              <a:defRPr sz="1400">
                <a:solidFill>
                  <a:schemeClr val="accent1"/>
                </a:solidFill>
              </a:defRPr>
            </a:lvl8pPr>
            <a:lvl9pPr marL="0" indent="0" algn="l"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>
            <a:normAutofit/>
          </a:bodyPr>
          <a:lstStyle>
            <a:lvl1pPr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E8CAFE-2186-4D7A-8CEF-71F81B840E77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FFD42A7-CE58-41A9-BFDE-F1AE467DEB98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735309" y="1732751"/>
            <a:ext cx="8101054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47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3056992" y="0"/>
            <a:ext cx="6087008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094" y="1732422"/>
            <a:ext cx="2715767" cy="592952"/>
          </a:xfrm>
        </p:spPr>
        <p:txBody>
          <a:bodyPr anchor="b"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B52A258-6540-4627-9544-F9B90C510986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August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532240" y="2424948"/>
            <a:ext cx="2715621" cy="1440000"/>
          </a:xfrm>
        </p:spPr>
        <p:txBody>
          <a:bodyPr anchor="t"/>
          <a:lstStyle>
            <a:lvl1pPr>
              <a:defRPr sz="240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034147" y="4041068"/>
            <a:ext cx="360671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6867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88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060937" y="4262151"/>
            <a:ext cx="2186924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085057" y="0"/>
            <a:ext cx="6060731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391425" y="524850"/>
            <a:ext cx="810106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6816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Разделитель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0" y="-4855"/>
            <a:ext cx="9167447" cy="68755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7677" y="1876898"/>
            <a:ext cx="5467071" cy="2958353"/>
          </a:xfrm>
        </p:spPr>
        <p:txBody>
          <a:bodyPr anchor="ctr">
            <a:norm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223114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F7F4D0EA-C5A0-4228-B5E0-011DEA8A450A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AB0E0E94-9AB6-489E-9ABA-294C0BEF249D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8">
            <a:extLst>
              <a:ext uri="{FF2B5EF4-FFF2-40B4-BE49-F238E27FC236}">
                <a16:creationId xmlns:a16="http://schemas.microsoft.com/office/drawing/2014/main" id="{FF6553FB-23CF-4952-8148-8E824ABB24A9}"/>
              </a:ext>
            </a:extLst>
          </p:cNvPr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93A95FEB-6C33-449A-81EB-6CDCF6D35BD9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41366D03-0A88-47A2-B3D1-7F89A571629B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42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34290" indent="0" algn="r"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>
            <a:extLst>
              <a:ext uri="{FF2B5EF4-FFF2-40B4-BE49-F238E27FC236}">
                <a16:creationId xmlns:a16="http://schemas.microsoft.com/office/drawing/2014/main" id="{9FA9F4B4-99F5-41F4-920E-2D2FBD730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>
            <a:extLst>
              <a:ext uri="{FF2B5EF4-FFF2-40B4-BE49-F238E27FC236}">
                <a16:creationId xmlns:a16="http://schemas.microsoft.com/office/drawing/2014/main" id="{22EDAC08-DDE2-4C10-88B4-6FC4A4FFE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>
            <a:extLst>
              <a:ext uri="{FF2B5EF4-FFF2-40B4-BE49-F238E27FC236}">
                <a16:creationId xmlns:a16="http://schemas.microsoft.com/office/drawing/2014/main" id="{4E8D3BF8-317F-4A56-965E-0E2EB1FF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9F5B943B-0E9B-4073-B014-6958FFF0603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4810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6">
            <a:extLst>
              <a:ext uri="{FF2B5EF4-FFF2-40B4-BE49-F238E27FC236}">
                <a16:creationId xmlns:a16="http://schemas.microsoft.com/office/drawing/2014/main" id="{B030BF33-A10C-4A09-8FBD-6AA466121BCB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sp>
        <p:nvSpPr>
          <p:cNvPr id="5" name="Полилиния 7">
            <a:extLst>
              <a:ext uri="{FF2B5EF4-FFF2-40B4-BE49-F238E27FC236}">
                <a16:creationId xmlns:a16="http://schemas.microsoft.com/office/drawing/2014/main" id="{B340E8D5-E3EC-46B1-9732-356894BF95A7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white"/>
              </a:solidFill>
              <a:latin typeface="Arial" charset="0"/>
              <a:cs typeface="+mn-cs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E4F8DCBD-214B-47E7-8FBA-D645928BBD13}"/>
              </a:ext>
            </a:extLst>
          </p:cNvPr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9">
              <a:extLst>
                <a:ext uri="{FF2B5EF4-FFF2-40B4-BE49-F238E27FC236}">
                  <a16:creationId xmlns:a16="http://schemas.microsoft.com/office/drawing/2014/main" id="{B662822F-F6D8-49C3-957A-4CAC80C89B94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" name="Полилиния 10">
              <a:extLst>
                <a:ext uri="{FF2B5EF4-FFF2-40B4-BE49-F238E27FC236}">
                  <a16:creationId xmlns:a16="http://schemas.microsoft.com/office/drawing/2014/main" id="{D83278D2-8032-4D57-8DB4-B010D725FCF6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white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42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1650">
                <a:solidFill>
                  <a:schemeClr val="tx1"/>
                </a:solidFill>
              </a:defRPr>
            </a:lvl1pPr>
            <a:lvl2pPr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13B3BC8C-272E-4D79-BCB8-C5D4622FB5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4EF36EE2-7D00-4D1D-BBAC-1897FB810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3C1E6EDB-6BE6-4BA5-A687-CDEF41D12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1FDDB547-BFED-4701-9628-3E00A69BE15D}" type="slidenum">
              <a:rPr lang="ru-RU" altLang="ru-RU"/>
              <a:pPr>
                <a:defRPr/>
              </a:pPr>
              <a:t>‹#›</a:t>
            </a:fld>
            <a:endParaRPr lang="ru-RU" altLang="ru-RU" sz="1050"/>
          </a:p>
        </p:txBody>
      </p:sp>
    </p:spTree>
    <p:extLst>
      <p:ext uri="{BB962C8B-B14F-4D97-AF65-F5344CB8AC3E}">
        <p14:creationId xmlns:p14="http://schemas.microsoft.com/office/powerpoint/2010/main" val="1753466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6">
            <a:extLst>
              <a:ext uri="{FF2B5EF4-FFF2-40B4-BE49-F238E27FC236}">
                <a16:creationId xmlns:a16="http://schemas.microsoft.com/office/drawing/2014/main" id="{E80464D4-7E67-4883-A3A4-D4453063D951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6" name="Полилиния 7">
            <a:extLst>
              <a:ext uri="{FF2B5EF4-FFF2-40B4-BE49-F238E27FC236}">
                <a16:creationId xmlns:a16="http://schemas.microsoft.com/office/drawing/2014/main" id="{602FE887-8BB5-4E66-80D4-5EE49889A866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7A72B721-A783-4014-8F39-9FC21318F928}"/>
              </a:ext>
            </a:extLst>
          </p:cNvPr>
          <p:cNvGrpSpPr>
            <a:grpSpLocks/>
          </p:cNvGrpSpPr>
          <p:nvPr/>
        </p:nvGrpSpPr>
        <p:grpSpPr bwMode="auto">
          <a:xfrm>
            <a:off x="-19049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9">
              <a:extLst>
                <a:ext uri="{FF2B5EF4-FFF2-40B4-BE49-F238E27FC236}">
                  <a16:creationId xmlns:a16="http://schemas.microsoft.com/office/drawing/2014/main" id="{7ECFBCF7-B6CF-4AE5-B5EF-23183DB7B7FF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" name="Полилиния 10">
              <a:extLst>
                <a:ext uri="{FF2B5EF4-FFF2-40B4-BE49-F238E27FC236}">
                  <a16:creationId xmlns:a16="http://schemas.microsoft.com/office/drawing/2014/main" id="{BEF08187-1FD7-423C-AAC5-3C7FD36FA715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kumimoji="0" lang="en-US" sz="1800">
                <a:solidFill>
                  <a:prstClr val="black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10" name="Прямоугольник с одним вырезанным скругленным углом 11">
            <a:extLst>
              <a:ext uri="{FF2B5EF4-FFF2-40B4-BE49-F238E27FC236}">
                <a16:creationId xmlns:a16="http://schemas.microsoft.com/office/drawing/2014/main" id="{744EC597-3BEE-4870-A723-ADFC16078340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23837EC8-0EE6-4757-8ED9-0DB63A3E1973}"/>
              </a:ext>
            </a:extLst>
          </p:cNvPr>
          <p:cNvSpPr/>
          <p:nvPr/>
        </p:nvSpPr>
        <p:spPr>
          <a:xfrm rot="420000" flipV="1">
            <a:off x="8004176" y="5359402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kumimoji="0" lang="en-US" sz="1800">
              <a:solidFill>
                <a:prstClr val="white"/>
              </a:solidFill>
            </a:endParaRPr>
          </a:p>
        </p:txBody>
      </p:sp>
      <p:sp>
        <p:nvSpPr>
          <p:cNvPr id="12" name="Полилиния 13">
            <a:extLst>
              <a:ext uri="{FF2B5EF4-FFF2-40B4-BE49-F238E27FC236}">
                <a16:creationId xmlns:a16="http://schemas.microsoft.com/office/drawing/2014/main" id="{FF84EE39-7266-4E3D-8D8E-15535D378394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13" name="Полилиния 14">
            <a:extLst>
              <a:ext uri="{FF2B5EF4-FFF2-40B4-BE49-F238E27FC236}">
                <a16:creationId xmlns:a16="http://schemas.microsoft.com/office/drawing/2014/main" id="{0B53EA24-B0B8-42B3-B50B-4327954ACD77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7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en-US" sz="180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8"/>
            <a:ext cx="2212848" cy="1582621"/>
          </a:xfrm>
        </p:spPr>
        <p:txBody>
          <a:bodyPr lIns="45720" rIns="45720" bIns="45720"/>
          <a:lstStyle>
            <a:lvl1pPr algn="l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188"/>
              </a:spcBef>
              <a:buFontTx/>
              <a:buNone/>
              <a:defRPr sz="975"/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64B2468F-5830-4C57-856E-BE553E522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0322631C-63FE-45BE-92D4-4E058DEE0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F1205C06-05BA-40BA-B5E8-D383428B4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96A30-52AC-4028-B9D4-AA7571443234}" type="slidenum">
              <a:rPr lang="ru-RU" altLang="ru-RU"/>
              <a:pPr>
                <a:defRPr/>
              </a:pPr>
              <a:t>‹#›</a:t>
            </a:fld>
            <a:endParaRPr lang="ru-RU" altLang="ru-RU" sz="1050"/>
          </a:p>
        </p:txBody>
      </p:sp>
    </p:spTree>
    <p:extLst>
      <p:ext uri="{BB962C8B-B14F-4D97-AF65-F5344CB8AC3E}">
        <p14:creationId xmlns:p14="http://schemas.microsoft.com/office/powerpoint/2010/main" val="203923505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E546307-1E8E-4988-883A-4D1C4DDB6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ACD217-B01C-4689-A71E-F6072E237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44DDDCD-8925-4922-97D6-5963106F5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849169-CC2E-42A1-9F35-AB2BEE08864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87746404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4C76964E-FCA3-4464-97E6-699E738F02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98E8ECBE-9D60-4CCE-B0E1-1C9DBE3DCA6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533C227D-B037-46D1-88E8-7FF4D06FDA8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422EEE-BF72-4AC5-9A76-6DB20FB335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5455385"/>
      </p:ext>
    </p:extLst>
  </p:cSld>
  <p:clrMapOvr>
    <a:masterClrMapping/>
  </p:clrMapOvr>
  <p:transition/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0AE468-A438-4A19-8B52-6A634DDB63F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A841C3-D13E-42F2-8F1C-998B6C555D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4A54AB-8868-4FC9-A112-6CA04DEBFC3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7FB79C-F462-42D8-92EC-5B6EF6714A0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764153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8AE0732D-74BC-4A56-8F81-A0F21696800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BEE121A2-62EA-4577-8016-3C9B2626A53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1FD94CA5-AC3B-4180-B079-7B67BFE9201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74E1D-C835-4065-9478-EABA73B974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010137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>
            <a:extLst>
              <a:ext uri="{FF2B5EF4-FFF2-40B4-BE49-F238E27FC236}">
                <a16:creationId xmlns:a16="http://schemas.microsoft.com/office/drawing/2014/main" id="{1ED2FF15-FDD1-41E8-86CD-650BE0E9F56D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CC14C308-89DE-4466-90F8-AFD4ACCFA6A6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>
            <a:extLst>
              <a:ext uri="{FF2B5EF4-FFF2-40B4-BE49-F238E27FC236}">
                <a16:creationId xmlns:a16="http://schemas.microsoft.com/office/drawing/2014/main" id="{C6C41E83-13D1-4AA0-A3B0-C7779EA4F183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30DE682F-0724-42C2-B5A7-33F5C31C865A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BBDA1E2D-98DC-47BC-B765-A967DF47334A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id="{C6419B69-BA3E-4731-85D0-0BA3C9D0F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id="{D99BA50C-41D9-4B9F-A25D-B6E695E18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185F1D77-DA58-4A38-8DE2-15F24C5A5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24800" y="6356350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E1410EEA-9798-4DF1-9E60-0F896CA4E2B3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1808992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2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FF40356-5BFD-465F-A383-FA1CBF39AF4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DEDBC21-244F-48B4-A65A-A0E997DF852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955338C-A115-4FD5-BEF4-BE4E704672B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14C35C-CB20-446F-A663-382171AFDE9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7116911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8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42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34290" indent="0" algn="r"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A93A7207-8FA1-41A8-A4C1-B1DBA8970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662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6" name="Группа 1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42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1650">
                <a:solidFill>
                  <a:schemeClr val="tx1"/>
                </a:solidFill>
              </a:defRPr>
            </a:lvl1pPr>
            <a:lvl2pPr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924800" y="6356352"/>
            <a:ext cx="762000" cy="365125"/>
          </a:xfrm>
        </p:spPr>
        <p:txBody>
          <a:bodyPr/>
          <a:lstStyle>
            <a:lvl1pPr>
              <a:defRPr>
                <a:solidFill>
                  <a:srgbClr val="D1EAEE"/>
                </a:solidFill>
              </a:defRPr>
            </a:lvl1pPr>
          </a:lstStyle>
          <a:p>
            <a:pPr>
              <a:defRPr/>
            </a:pPr>
            <a:fld id="{52E85AAE-7540-48FC-94A9-E6630184C8C6}" type="slidenum">
              <a:rPr lang="ru-RU"/>
              <a:pPr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8942010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5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7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9"/>
          <p:cNvSpPr/>
          <p:nvPr/>
        </p:nvSpPr>
        <p:spPr>
          <a:xfrm rot="420000" flipV="1">
            <a:off x="3165476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/>
          <p:cNvSpPr/>
          <p:nvPr/>
        </p:nvSpPr>
        <p:spPr>
          <a:xfrm rot="420000" flipV="1">
            <a:off x="8004175" y="5359402"/>
            <a:ext cx="155576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2"/>
          <p:cNvSpPr>
            <a:spLocks/>
          </p:cNvSpPr>
          <p:nvPr/>
        </p:nvSpPr>
        <p:spPr bwMode="auto">
          <a:xfrm flipV="1">
            <a:off x="4381500" y="6219827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8"/>
            <a:ext cx="2212848" cy="1582621"/>
          </a:xfrm>
        </p:spPr>
        <p:txBody>
          <a:bodyPr lIns="45720" rIns="45720" bIns="45720"/>
          <a:lstStyle>
            <a:lvl1pPr algn="l">
              <a:buNone/>
              <a:defRPr sz="15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188"/>
              </a:spcBef>
              <a:buFontTx/>
              <a:buNone/>
              <a:defRPr sz="975"/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FFD21A-EB6D-4F57-8B6C-562087779897}" type="slidenum">
              <a:rPr lang="ru-RU"/>
              <a:pPr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2293603230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678D93-4C33-4C3F-94F5-7064E834F7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44381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5CE80-53A0-4B20-BAFE-833221CFE5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093842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6" y="107576"/>
            <a:ext cx="8042276" cy="1336956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9275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1072" y="1600201"/>
            <a:ext cx="3840480" cy="434340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629835" y="6275670"/>
            <a:ext cx="2133600" cy="365125"/>
          </a:xfrm>
          <a:prstGeom prst="rect">
            <a:avLst/>
          </a:prstGeom>
        </p:spPr>
        <p:txBody>
          <a:bodyPr/>
          <a:lstStyle/>
          <a:p>
            <a:fld id="{B01F9CA3-105E-4857-9057-6DB6197DA786}" type="datetimeFigureOut">
              <a:rPr lang="en-US" smtClean="0"/>
              <a:t>11/1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4459" y="6275670"/>
            <a:ext cx="4840941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77669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4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59" y="333074"/>
            <a:ext cx="8494835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10924188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6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0"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81B01F69-D67C-4E0D-8D13-D1D9152B04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6714249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8">
            <a:extLst>
              <a:ext uri="{FF2B5EF4-FFF2-40B4-BE49-F238E27FC236}">
                <a16:creationId xmlns:a16="http://schemas.microsoft.com/office/drawing/2014/main" id="{21F2B43E-374A-44E1-8C09-4E7F35FB4C17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756047" y="1948070"/>
            <a:ext cx="7911705" cy="4046330"/>
          </a:xfr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lang="pt-PT" sz="1125"/>
            </a:lvl1pPr>
          </a:lstStyle>
          <a:p>
            <a:pPr lvl="0" algn="ctr"/>
            <a:endParaRPr lang="pt-PT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D979A179-3599-48BB-8475-D873AAE5B1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2652" y="495304"/>
            <a:ext cx="4838700" cy="783985"/>
          </a:xfrm>
        </p:spPr>
        <p:txBody>
          <a:bodyPr>
            <a:normAutofit/>
          </a:bodyPr>
          <a:lstStyle>
            <a:lvl1pPr marL="0" algn="ctr" defTabSz="51435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pt-PT" sz="1800" b="1" kern="1200" dirty="0">
                <a:solidFill>
                  <a:srgbClr val="0D2C6C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5868971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>
            <a:extLst>
              <a:ext uri="{FF2B5EF4-FFF2-40B4-BE49-F238E27FC236}">
                <a16:creationId xmlns:a16="http://schemas.microsoft.com/office/drawing/2014/main" id="{5B41151F-0010-454A-9D5B-2097CD43F0C6}"/>
              </a:ext>
            </a:extLst>
          </p:cNvPr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олилиния 5">
            <a:extLst>
              <a:ext uri="{FF2B5EF4-FFF2-40B4-BE49-F238E27FC236}">
                <a16:creationId xmlns:a16="http://schemas.microsoft.com/office/drawing/2014/main" id="{2C8FB8CE-189D-482B-B9E6-41BF232F6EE9}"/>
              </a:ext>
            </a:extLst>
          </p:cNvPr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7" name="Группа 1">
            <a:extLst>
              <a:ext uri="{FF2B5EF4-FFF2-40B4-BE49-F238E27FC236}">
                <a16:creationId xmlns:a16="http://schemas.microsoft.com/office/drawing/2014/main" id="{068DD5EF-CFEE-46F2-9E4C-8FA1FF252246}"/>
              </a:ext>
            </a:extLst>
          </p:cNvPr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9B75B01A-F682-49DE-80CE-1BB17266D8E7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A724963E-CE67-408E-8C15-428ED0D19D06}"/>
                </a:ext>
              </a:extLst>
            </p:cNvPr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Прямоугольник с одним вырезанным скругленным углом 9">
            <a:extLst>
              <a:ext uri="{FF2B5EF4-FFF2-40B4-BE49-F238E27FC236}">
                <a16:creationId xmlns:a16="http://schemas.microsoft.com/office/drawing/2014/main" id="{E735DFE0-C9D4-4521-9847-19171CF1C371}"/>
              </a:ext>
            </a:extLst>
          </p:cNvPr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Прямоугольный треугольник 10">
            <a:extLst>
              <a:ext uri="{FF2B5EF4-FFF2-40B4-BE49-F238E27FC236}">
                <a16:creationId xmlns:a16="http://schemas.microsoft.com/office/drawing/2014/main" id="{6DB45185-9B5D-49A3-A2FC-068283FEBEC8}"/>
              </a:ext>
            </a:extLst>
          </p:cNvPr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олилиния 11">
            <a:extLst>
              <a:ext uri="{FF2B5EF4-FFF2-40B4-BE49-F238E27FC236}">
                <a16:creationId xmlns:a16="http://schemas.microsoft.com/office/drawing/2014/main" id="{8762FBAE-0B3C-439F-8576-3C3E9DBD243D}"/>
              </a:ext>
            </a:extLst>
          </p:cNvPr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8CB9604A-63A3-405D-9691-DDF9A2F80109}"/>
              </a:ext>
            </a:extLst>
          </p:cNvPr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14" name="Дата 4">
            <a:extLst>
              <a:ext uri="{FF2B5EF4-FFF2-40B4-BE49-F238E27FC236}">
                <a16:creationId xmlns:a16="http://schemas.microsoft.com/office/drawing/2014/main" id="{5518FF5B-8CD3-4E22-AFB6-E20B13573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Нижний колонтитул 5">
            <a:extLst>
              <a:ext uri="{FF2B5EF4-FFF2-40B4-BE49-F238E27FC236}">
                <a16:creationId xmlns:a16="http://schemas.microsoft.com/office/drawing/2014/main" id="{842BCA84-FA4E-4596-B9A6-CDCE01D9C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6">
            <a:extLst>
              <a:ext uri="{FF2B5EF4-FFF2-40B4-BE49-F238E27FC236}">
                <a16:creationId xmlns:a16="http://schemas.microsoft.com/office/drawing/2014/main" id="{EF5B1016-93DA-4E10-879C-451A752E9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AAC46-F819-4351-BC07-6E3BD48EE7B9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912212553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2C410D31-2C15-4F19-8187-07D5FD9362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1316" y="417581"/>
            <a:ext cx="588591" cy="784788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680001" y="2844432"/>
            <a:ext cx="4212779" cy="78133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 sz="2100" kern="0" spc="150" baseline="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5058054" y="4046801"/>
            <a:ext cx="3834725" cy="78133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 sz="975" kern="0" spc="150" baseline="0">
                <a:solidFill>
                  <a:schemeClr val="accent6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4583671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656160" y="764706"/>
            <a:ext cx="5669756" cy="288255"/>
          </a:xfrm>
        </p:spPr>
        <p:txBody>
          <a:bodyPr rtlCol="0"/>
          <a:lstStyle>
            <a:lvl1pPr marL="0" indent="0">
              <a:buNone/>
              <a:defRPr sz="900">
                <a:solidFill>
                  <a:schemeClr val="accent5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2574131" y="1916832"/>
            <a:ext cx="4751785" cy="936000"/>
          </a:xfrm>
        </p:spPr>
        <p:txBody>
          <a:bodyPr rtlCol="0"/>
          <a:lstStyle>
            <a:lvl1pPr marL="0" indent="0" algn="l">
              <a:buNone/>
              <a:defRPr sz="1875">
                <a:solidFill>
                  <a:schemeClr val="accent5"/>
                </a:solidFill>
              </a:defRPr>
            </a:lvl1pPr>
            <a:lvl2pPr marL="342900" indent="0" algn="l">
              <a:buNone/>
              <a:defRPr sz="1875">
                <a:solidFill>
                  <a:srgbClr val="00A6BA"/>
                </a:solidFill>
              </a:defRPr>
            </a:lvl2pPr>
            <a:lvl3pPr marL="685800" indent="0" algn="l">
              <a:buNone/>
              <a:defRPr sz="1875">
                <a:solidFill>
                  <a:srgbClr val="00A6BA"/>
                </a:solidFill>
              </a:defRPr>
            </a:lvl3pPr>
            <a:lvl4pPr marL="1028700" indent="0" algn="l">
              <a:buNone/>
              <a:defRPr sz="1875">
                <a:solidFill>
                  <a:srgbClr val="00A6BA"/>
                </a:solidFill>
              </a:defRPr>
            </a:lvl4pPr>
            <a:lvl5pPr marL="1371600" indent="0" algn="l">
              <a:buNone/>
              <a:defRPr sz="1875">
                <a:solidFill>
                  <a:srgbClr val="00A6BA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2"/>
          </p:nvPr>
        </p:nvSpPr>
        <p:spPr>
          <a:xfrm>
            <a:off x="2574131" y="3456000"/>
            <a:ext cx="4751785" cy="413830"/>
          </a:xfrm>
        </p:spPr>
        <p:txBody>
          <a:bodyPr rtlCol="0"/>
          <a:lstStyle>
            <a:lvl1pPr marL="0" indent="0">
              <a:buNone/>
              <a:defRPr sz="1500">
                <a:solidFill>
                  <a:srgbClr val="676767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59324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omens Health Sum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492D202-1348-4888-AB3E-74F550604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615" y="3789040"/>
            <a:ext cx="7304771" cy="113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723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83568" y="764706"/>
            <a:ext cx="6336000" cy="288255"/>
          </a:xfrm>
        </p:spPr>
        <p:txBody>
          <a:bodyPr rtlCol="0"/>
          <a:lstStyle>
            <a:lvl1pPr marL="0" indent="0">
              <a:buNone/>
              <a:defRPr sz="900">
                <a:solidFill>
                  <a:schemeClr val="accent5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08000" y="1916832"/>
            <a:ext cx="6336000" cy="936000"/>
          </a:xfrm>
        </p:spPr>
        <p:txBody>
          <a:bodyPr rtlCol="0"/>
          <a:lstStyle>
            <a:lvl1pPr marL="0" indent="0" algn="l">
              <a:buNone/>
              <a:defRPr sz="1875">
                <a:solidFill>
                  <a:schemeClr val="accent5"/>
                </a:solidFill>
              </a:defRPr>
            </a:lvl1pPr>
            <a:lvl2pPr marL="342900" indent="0" algn="l">
              <a:buNone/>
              <a:defRPr sz="1875">
                <a:solidFill>
                  <a:srgbClr val="00A6BA"/>
                </a:solidFill>
              </a:defRPr>
            </a:lvl2pPr>
            <a:lvl3pPr marL="685800" indent="0" algn="l">
              <a:buNone/>
              <a:defRPr sz="1875">
                <a:solidFill>
                  <a:srgbClr val="00A6BA"/>
                </a:solidFill>
              </a:defRPr>
            </a:lvl3pPr>
            <a:lvl4pPr marL="1028700" indent="0" algn="l">
              <a:buNone/>
              <a:defRPr sz="1875">
                <a:solidFill>
                  <a:srgbClr val="00A6BA"/>
                </a:solidFill>
              </a:defRPr>
            </a:lvl4pPr>
            <a:lvl5pPr marL="1371600" indent="0" algn="l">
              <a:buNone/>
              <a:defRPr sz="1875">
                <a:solidFill>
                  <a:srgbClr val="00A6BA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2"/>
          </p:nvPr>
        </p:nvSpPr>
        <p:spPr>
          <a:xfrm>
            <a:off x="1908000" y="3456000"/>
            <a:ext cx="6336000" cy="413830"/>
          </a:xfrm>
        </p:spPr>
        <p:txBody>
          <a:bodyPr rtlCol="0"/>
          <a:lstStyle>
            <a:lvl1pPr marL="0" indent="0">
              <a:buNone/>
              <a:defRPr sz="1500">
                <a:solidFill>
                  <a:srgbClr val="676767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968780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ymposi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83568" y="764706"/>
            <a:ext cx="6336000" cy="288255"/>
          </a:xfrm>
        </p:spPr>
        <p:txBody>
          <a:bodyPr rtlCol="0"/>
          <a:lstStyle>
            <a:lvl1pPr marL="0" indent="0">
              <a:buNone/>
              <a:defRPr sz="900">
                <a:solidFill>
                  <a:schemeClr val="accent5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08000" y="1916832"/>
            <a:ext cx="6336000" cy="936000"/>
          </a:xfrm>
        </p:spPr>
        <p:txBody>
          <a:bodyPr rtlCol="0"/>
          <a:lstStyle>
            <a:lvl1pPr marL="0" indent="0" algn="l">
              <a:buNone/>
              <a:defRPr sz="1875">
                <a:solidFill>
                  <a:schemeClr val="accent5"/>
                </a:solidFill>
              </a:defRPr>
            </a:lvl1pPr>
            <a:lvl2pPr marL="342900" indent="0" algn="l">
              <a:buNone/>
              <a:defRPr sz="1875">
                <a:solidFill>
                  <a:srgbClr val="00A6BA"/>
                </a:solidFill>
              </a:defRPr>
            </a:lvl2pPr>
            <a:lvl3pPr marL="685800" indent="0" algn="l">
              <a:buNone/>
              <a:defRPr sz="1875">
                <a:solidFill>
                  <a:srgbClr val="00A6BA"/>
                </a:solidFill>
              </a:defRPr>
            </a:lvl3pPr>
            <a:lvl4pPr marL="1028700" indent="0" algn="l">
              <a:buNone/>
              <a:defRPr sz="1875">
                <a:solidFill>
                  <a:srgbClr val="00A6BA"/>
                </a:solidFill>
              </a:defRPr>
            </a:lvl4pPr>
            <a:lvl5pPr marL="1371600" indent="0" algn="l">
              <a:buNone/>
              <a:defRPr sz="1875">
                <a:solidFill>
                  <a:srgbClr val="00A6BA"/>
                </a:solidFill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2"/>
          </p:nvPr>
        </p:nvSpPr>
        <p:spPr>
          <a:xfrm>
            <a:off x="1908000" y="3456000"/>
            <a:ext cx="6336000" cy="413830"/>
          </a:xfrm>
        </p:spPr>
        <p:txBody>
          <a:bodyPr rtlCol="0"/>
          <a:lstStyle>
            <a:lvl1pPr marL="0" indent="0">
              <a:buNone/>
              <a:defRPr sz="1500">
                <a:solidFill>
                  <a:srgbClr val="676767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655971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413147" y="1656264"/>
            <a:ext cx="8479632" cy="3933324"/>
          </a:xfrm>
        </p:spPr>
        <p:txBody>
          <a:bodyPr rtlCol="0">
            <a:noAutofit/>
          </a:bodyPr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1pPr>
            <a:lvl2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2pPr>
            <a:lvl3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3pPr>
            <a:lvl4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4pPr>
            <a:lvl5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962A94-B52C-45F4-8ADA-8D4BCB273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8667A95-8E99-4091-B8CD-FDDE5DEB97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5241" y="5589589"/>
            <a:ext cx="5670947" cy="935037"/>
          </a:xfrm>
        </p:spPr>
        <p:txBody>
          <a:bodyPr lIns="0" tIns="0" rIns="0" bIns="0" rtlCol="0" anchor="b"/>
          <a:lstStyle>
            <a:lvl1pPr marL="0" indent="0">
              <a:lnSpc>
                <a:spcPts val="900"/>
              </a:lnSpc>
              <a:spcBef>
                <a:spcPts val="0"/>
              </a:spcBef>
              <a:buNone/>
              <a:defRPr sz="7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471790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mens Health Sum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1D9D813-3265-4C69-B79F-91F41909D9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832" y="2841223"/>
            <a:ext cx="7562336" cy="1175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4096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413147" y="1656264"/>
            <a:ext cx="8479632" cy="3933324"/>
          </a:xfrm>
        </p:spPr>
        <p:txBody>
          <a:bodyPr rtlCol="0">
            <a:noAutofit/>
          </a:bodyPr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1pPr>
            <a:lvl2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2pPr>
            <a:lvl3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3pPr>
            <a:lvl4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4pPr>
            <a:lvl5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962A94-B52C-45F4-8ADA-8D4BCB273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E5380D8-8C2B-4563-BEB6-E02B7C5E58A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3147" y="1203626"/>
            <a:ext cx="7514034" cy="361950"/>
          </a:xfrm>
        </p:spPr>
        <p:txBody>
          <a:bodyPr rtlCol="0"/>
          <a:lstStyle>
            <a:lvl1pPr marL="0" indent="0">
              <a:buNone/>
              <a:defRPr sz="1350" b="1" i="1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BF573678-9E52-424C-A8E1-3D3D76DC64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25241" y="5589589"/>
            <a:ext cx="5670947" cy="935037"/>
          </a:xfrm>
        </p:spPr>
        <p:txBody>
          <a:bodyPr lIns="0" tIns="0" rIns="0" bIns="0" rtlCol="0" anchor="b"/>
          <a:lstStyle>
            <a:lvl1pPr marL="0" indent="0">
              <a:lnSpc>
                <a:spcPts val="900"/>
              </a:lnSpc>
              <a:spcBef>
                <a:spcPts val="0"/>
              </a:spcBef>
              <a:buNone/>
              <a:defRPr sz="7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12987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13146" y="1656588"/>
            <a:ext cx="4067618" cy="3933001"/>
          </a:xfrm>
        </p:spPr>
        <p:txBody>
          <a:bodyPr rtlCol="0">
            <a:normAutofit/>
          </a:bodyPr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25161" y="1656588"/>
            <a:ext cx="4067618" cy="3933001"/>
          </a:xfrm>
        </p:spPr>
        <p:txBody>
          <a:bodyPr rtlCol="0"/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7EEB05-B957-4443-8E4D-8AB218B46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75F09680-3B9A-4C21-A0F5-FC3FFCEB56F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5241" y="5589589"/>
            <a:ext cx="5670947" cy="935037"/>
          </a:xfrm>
        </p:spPr>
        <p:txBody>
          <a:bodyPr lIns="0" tIns="0" rIns="0" bIns="0" rtlCol="0" anchor="b"/>
          <a:lstStyle>
            <a:lvl1pPr marL="0" indent="0">
              <a:lnSpc>
                <a:spcPts val="900"/>
              </a:lnSpc>
              <a:spcBef>
                <a:spcPts val="0"/>
              </a:spcBef>
              <a:buNone/>
              <a:defRPr sz="7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8483581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13146" y="1656587"/>
            <a:ext cx="4067618" cy="645146"/>
          </a:xfrm>
        </p:spPr>
        <p:txBody>
          <a:bodyPr rtlCol="0" anchor="t"/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 rtl="0"/>
            <a:r>
              <a:rPr lang="ru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13146" y="2420888"/>
            <a:ext cx="4068626" cy="3168700"/>
          </a:xfrm>
        </p:spPr>
        <p:txBody>
          <a:bodyPr rtlCol="0"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25161" y="1656587"/>
            <a:ext cx="4068900" cy="645146"/>
          </a:xfrm>
        </p:spPr>
        <p:txBody>
          <a:bodyPr rtlCol="0" anchor="t">
            <a:noAutofit/>
          </a:bodyPr>
          <a:lstStyle>
            <a:lvl1pPr marL="0" indent="0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 rtl="0"/>
            <a:r>
              <a:rPr lang="ru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5161" y="2420888"/>
            <a:ext cx="4068900" cy="3168700"/>
          </a:xfrm>
        </p:spPr>
        <p:txBody>
          <a:bodyPr rtlCol="0"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232BA8-DB90-4011-A2C9-D88CDF161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98B09A28-5534-4677-8622-A584ACF44A9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5241" y="5589589"/>
            <a:ext cx="5670947" cy="935037"/>
          </a:xfrm>
        </p:spPr>
        <p:txBody>
          <a:bodyPr lIns="0" tIns="0" rIns="0" bIns="0" rtlCol="0" anchor="b"/>
          <a:lstStyle>
            <a:lvl1pPr marL="0" indent="0">
              <a:lnSpc>
                <a:spcPts val="900"/>
              </a:lnSpc>
              <a:spcBef>
                <a:spcPts val="0"/>
              </a:spcBef>
              <a:buNone/>
              <a:defRPr sz="7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24943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>
            <a:extLst>
              <a:ext uri="{FF2B5EF4-FFF2-40B4-BE49-F238E27FC236}">
                <a16:creationId xmlns:a16="http://schemas.microsoft.com/office/drawing/2014/main" id="{C5DF71D6-FABC-4884-8FC4-3890708CD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2">
            <a:extLst>
              <a:ext uri="{FF2B5EF4-FFF2-40B4-BE49-F238E27FC236}">
                <a16:creationId xmlns:a16="http://schemas.microsoft.com/office/drawing/2014/main" id="{2D2EE1AA-EF9D-470B-ABE9-9ED35A566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>
            <a:extLst>
              <a:ext uri="{FF2B5EF4-FFF2-40B4-BE49-F238E27FC236}">
                <a16:creationId xmlns:a16="http://schemas.microsoft.com/office/drawing/2014/main" id="{7B8922B7-C08C-4AA3-B62B-E214109C9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1F3AA-3B5B-43C5-B8D3-5B8D708E50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775595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6D3C337-A7D5-4001-99EE-278CC8A24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D875987-85EB-4D77-BBBF-E4A3574AE3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5241" y="5589589"/>
            <a:ext cx="5670947" cy="935037"/>
          </a:xfrm>
        </p:spPr>
        <p:txBody>
          <a:bodyPr lIns="0" tIns="0" rIns="0" bIns="0" rtlCol="0" anchor="b"/>
          <a:lstStyle>
            <a:lvl1pPr marL="0" indent="0">
              <a:lnSpc>
                <a:spcPts val="900"/>
              </a:lnSpc>
              <a:spcBef>
                <a:spcPts val="0"/>
              </a:spcBef>
              <a:buNone/>
              <a:defRPr sz="7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3696737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Headline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9" y="4857760"/>
            <a:ext cx="5422918" cy="71438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algn="l">
              <a:defRPr sz="1800" b="0">
                <a:solidFill>
                  <a:schemeClr val="accent5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9" y="928671"/>
            <a:ext cx="5422918" cy="3798905"/>
          </a:xfrm>
        </p:spPr>
        <p:txBody>
          <a:bodyPr rtlCol="0">
            <a:normAutofit/>
          </a:bodyPr>
          <a:lstStyle>
            <a:lvl1pPr marL="0" indent="0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 rtl="0"/>
            <a:r>
              <a:rPr lang="ru" noProof="0"/>
              <a:t>Click icon to add picture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9" y="5643578"/>
            <a:ext cx="5422918" cy="519110"/>
          </a:xfrm>
        </p:spPr>
        <p:txBody>
          <a:bodyPr rtlCol="0"/>
          <a:lstStyle>
            <a:lvl1pPr marL="0" indent="0">
              <a:buNone/>
              <a:defRPr sz="13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383665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09C9131-20B9-4CBE-B5A8-EF240467AA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1316" y="417581"/>
            <a:ext cx="588591" cy="784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12322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2" y="1138299"/>
            <a:ext cx="8099900" cy="252000"/>
          </a:xfrm>
        </p:spPr>
        <p:txBody>
          <a:bodyPr rtlCol="0"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 rtl="0"/>
            <a:r>
              <a:rPr lang="ru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ru"/>
              <a:t>Mastertitelformat bearbeit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098" y="617155"/>
            <a:ext cx="299739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2" y="1732751"/>
            <a:ext cx="8099900" cy="4751999"/>
          </a:xfrm>
        </p:spPr>
        <p:txBody>
          <a:bodyPr rtlCol="0"/>
          <a:lstStyle/>
          <a:p>
            <a:pPr lvl="0" rtl="0"/>
            <a:r>
              <a:rPr lang="ru"/>
              <a:t>Mastertextformat bearbeiten</a:t>
            </a:r>
          </a:p>
          <a:p>
            <a:pPr lvl="1" rtl="0"/>
            <a:r>
              <a:rPr lang="ru"/>
              <a:t>Zweite Ebene</a:t>
            </a:r>
          </a:p>
          <a:p>
            <a:pPr lvl="2" rtl="0"/>
            <a:r>
              <a:rPr lang="ru"/>
              <a:t>Dritte Ebene</a:t>
            </a:r>
          </a:p>
          <a:p>
            <a:pPr lvl="3" rtl="0"/>
            <a:r>
              <a:rPr lang="ru"/>
              <a:t>Vierte Ebene</a:t>
            </a:r>
          </a:p>
          <a:p>
            <a:pPr lvl="4" rtl="0"/>
            <a:r>
              <a:rPr lang="ru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509323"/>
            <a:ext cx="45906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" sz="675">
                <a:solidFill>
                  <a:schemeClr val="tx1"/>
                </a:solidFill>
              </a:rPr>
              <a:t>Logo</a:t>
            </a:r>
          </a:p>
          <a:p>
            <a:pPr algn="ctr" rtl="0"/>
            <a:r>
              <a:rPr lang="ru" sz="675">
                <a:solidFill>
                  <a:schemeClr val="tx1"/>
                </a:solidFill>
              </a:rPr>
              <a:t>Schutz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7B3BF9-E9A3-DC49-BE99-E7635A7B53E1}"/>
              </a:ext>
            </a:extLst>
          </p:cNvPr>
          <p:cNvSpPr txBox="1"/>
          <p:nvPr userDrawn="1"/>
        </p:nvSpPr>
        <p:spPr bwMode="gray">
          <a:xfrm>
            <a:off x="8104149" y="6612673"/>
            <a:ext cx="0" cy="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35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EAB53D-5EC1-804F-B6DE-C8EC7166A603}"/>
              </a:ext>
            </a:extLst>
          </p:cNvPr>
          <p:cNvSpPr txBox="1"/>
          <p:nvPr userDrawn="1"/>
        </p:nvSpPr>
        <p:spPr bwMode="gray">
          <a:xfrm>
            <a:off x="6130383" y="6551900"/>
            <a:ext cx="2898606" cy="27530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" sz="1050" b="0" i="0" u="none">
                <a:solidFill>
                  <a:srgbClr val="000000"/>
                </a:solidFill>
                <a:latin typeface="Arial" panose="020B0604020202020204" pitchFamily="34" charset="0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6709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2886" y="324004"/>
            <a:ext cx="7497466" cy="48527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de-DE" sz="2100" kern="1200" dirty="0" smtClean="0">
                <a:solidFill>
                  <a:srgbClr val="008BCB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242886" y="1263600"/>
            <a:ext cx="8643600" cy="4309200"/>
          </a:xfrm>
        </p:spPr>
        <p:txBody>
          <a:bodyPr rtlCol="0">
            <a:noAutofit/>
          </a:bodyPr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1pPr>
            <a:lvl2pP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2pPr>
            <a:lvl3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4pPr>
            <a:lvl5pPr>
              <a:defRPr sz="788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543300" y="630589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2CCD236C-0FC8-4929-BC22-9AFC0866B3F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89639" y="6305898"/>
            <a:ext cx="3055937" cy="364779"/>
          </a:xfrm>
        </p:spPr>
        <p:txBody>
          <a:bodyPr rtlCol="0" anchor="ctr"/>
          <a:lstStyle>
            <a:lvl1pPr marL="0" indent="0" algn="r">
              <a:buNone/>
              <a:defRPr sz="675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428708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2886" y="324002"/>
            <a:ext cx="6257940" cy="485275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lang="de-DE" sz="1875" kern="1200" dirty="0" smtClean="0">
                <a:solidFill>
                  <a:srgbClr val="008BCB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242886" y="1263600"/>
            <a:ext cx="8643600" cy="4309200"/>
          </a:xfrm>
        </p:spPr>
        <p:txBody>
          <a:bodyPr rtlCol="0">
            <a:noAutofit/>
          </a:bodyPr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1pPr>
            <a:lvl2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2pPr>
            <a:lvl3pPr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3pPr>
            <a:lvl4pPr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4pPr>
            <a:lvl5pPr>
              <a:defRPr sz="75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itchFamily="34" charset="0"/>
              </a:defRPr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8778735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2240" y="3920150"/>
            <a:ext cx="3887936" cy="720000"/>
          </a:xfrm>
        </p:spPr>
        <p:txBody>
          <a:bodyPr rtlCol="0" anchor="t"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450"/>
              </a:spcAft>
              <a:buFont typeface="Arial" panose="020B0604020202020204" pitchFamily="34" charset="0"/>
              <a:buNone/>
              <a:defRPr lang="en-US" sz="15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defRPr sz="1800" b="1">
                <a:solidFill>
                  <a:schemeClr val="accent1"/>
                </a:solidFill>
              </a:defRPr>
            </a:lvl2pPr>
            <a:lvl3pPr marL="0" indent="0" algn="l">
              <a:buNone/>
              <a:defRPr sz="1800" b="1">
                <a:solidFill>
                  <a:schemeClr val="accent1"/>
                </a:solidFill>
              </a:defRPr>
            </a:lvl3pPr>
            <a:lvl4pPr marL="0" indent="0" algn="l">
              <a:buNone/>
              <a:defRPr sz="1800" b="1">
                <a:solidFill>
                  <a:schemeClr val="accent1"/>
                </a:solidFill>
              </a:defRPr>
            </a:lvl4pPr>
            <a:lvl5pPr marL="0" indent="0" algn="l">
              <a:buNone/>
              <a:defRPr sz="1800" b="1">
                <a:solidFill>
                  <a:schemeClr val="accent1"/>
                </a:solidFill>
              </a:defRPr>
            </a:lvl5pPr>
            <a:lvl6pPr marL="0" indent="0" algn="l">
              <a:buNone/>
              <a:defRPr sz="1800" b="1">
                <a:solidFill>
                  <a:schemeClr val="accent1"/>
                </a:solidFill>
              </a:defRPr>
            </a:lvl6pPr>
            <a:lvl7pPr marL="0" indent="0" algn="l">
              <a:buNone/>
              <a:defRPr sz="1800" b="1">
                <a:solidFill>
                  <a:schemeClr val="accent1"/>
                </a:solidFill>
              </a:defRPr>
            </a:lvl7pPr>
            <a:lvl8pPr marL="0" indent="0" algn="l">
              <a:buNone/>
              <a:defRPr sz="1800" b="1">
                <a:solidFill>
                  <a:schemeClr val="accent1"/>
                </a:solidFill>
              </a:defRPr>
            </a:lvl8pPr>
            <a:lvl9pPr marL="0" indent="0" algn="l">
              <a:buNone/>
              <a:defRPr sz="1800" b="1">
                <a:solidFill>
                  <a:schemeClr val="accent1"/>
                </a:solidFill>
              </a:defRPr>
            </a:lvl9pPr>
          </a:lstStyle>
          <a:p>
            <a:pPr lvl="0" rtl="0"/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32240" y="2230300"/>
            <a:ext cx="3887936" cy="1440753"/>
          </a:xfrm>
        </p:spPr>
        <p:txBody>
          <a:bodyPr rtlCol="0" anchor="t"/>
          <a:lstStyle>
            <a:lvl1pPr marL="0" algn="l" defTabSz="685800" rtl="0" eaLnBrk="1" latinLnBrk="0" hangingPunct="1">
              <a:spcBef>
                <a:spcPct val="0"/>
              </a:spcBef>
              <a:buNone/>
              <a:defRPr lang="en-US" sz="2700" b="1" i="0" kern="1200" dirty="0">
                <a:solidFill>
                  <a:schemeClr val="accent6"/>
                </a:solidFill>
                <a:latin typeface="HelveticaNeueLT Std Med" panose="020B0604020202020204" pitchFamily="34" charset="0"/>
                <a:ea typeface="+mj-ea"/>
                <a:cs typeface="+mj-cs"/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621BA354-F9E4-456D-9856-78FA39C52D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42009" y="6617933"/>
            <a:ext cx="366761" cy="10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019A0E6-A5BF-42F9-98D3-527095D62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C762D539-FA72-4A31-9DE3-A3F71BC9E8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358" y="1736725"/>
            <a:ext cx="2508682" cy="342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33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xt (2)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2D63632-A610-408D-AC36-E1B92ACFCFD3}"/>
              </a:ext>
            </a:extLst>
          </p:cNvPr>
          <p:cNvSpPr/>
          <p:nvPr/>
        </p:nvSpPr>
        <p:spPr bwMode="gray">
          <a:xfrm>
            <a:off x="526429" y="1735140"/>
            <a:ext cx="3467447" cy="475138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35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0F150DB-6848-4011-92FB-74D40ADA548B}"/>
              </a:ext>
            </a:extLst>
          </p:cNvPr>
          <p:cNvSpPr/>
          <p:nvPr/>
        </p:nvSpPr>
        <p:spPr bwMode="gray">
          <a:xfrm>
            <a:off x="4091625" y="1735140"/>
            <a:ext cx="3467447" cy="47513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sz="135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526430" y="1138299"/>
            <a:ext cx="7618506" cy="252000"/>
          </a:xfrm>
        </p:spPr>
        <p:txBody>
          <a:bodyPr rtlCol="0" anchor="t"/>
          <a:lstStyle>
            <a:lvl1pPr marL="0" indent="0" algn="l">
              <a:buNone/>
              <a:defRPr lang="en-US" sz="135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marL="0" lvl="0" indent="0" algn="l" defTabSz="685800" rtl="0" eaLnBrk="1" latinLnBrk="0" hangingPunct="1">
              <a:spcBef>
                <a:spcPts val="90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ru"/>
              <a:t>Click to edit Master subtitle style</a:t>
            </a: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651463" y="1891106"/>
            <a:ext cx="3217382" cy="4439450"/>
          </a:xfrm>
        </p:spPr>
        <p:txBody>
          <a:bodyPr rtlCol="0"/>
          <a:lstStyle>
            <a:lvl5pPr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4215940" y="1891431"/>
            <a:ext cx="3218819" cy="4438800"/>
          </a:xfrm>
        </p:spPr>
        <p:txBody>
          <a:bodyPr rtlCol="0"/>
          <a:lstStyle>
            <a:lvl1pPr>
              <a:defRPr/>
            </a:lvl1pPr>
            <a:lvl5pPr>
              <a:defRPr/>
            </a:lvl5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  <a:p>
            <a:pPr lvl="2" rtl="0"/>
            <a:r>
              <a:rPr lang="ru"/>
              <a:t>Third level</a:t>
            </a:r>
          </a:p>
          <a:p>
            <a:pPr lvl="3" rtl="0"/>
            <a:r>
              <a:rPr lang="ru"/>
              <a:t>Fourth level</a:t>
            </a:r>
          </a:p>
          <a:p>
            <a:pPr lvl="4" rtl="0"/>
            <a:r>
              <a:rPr lang="ru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98EE161-CF09-458B-97A1-A60745E63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30" y="181938"/>
            <a:ext cx="7618506" cy="864000"/>
          </a:xfrm>
        </p:spPr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C46F08B-717A-4C39-B33F-BBD2404F3A34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8342009" y="6617933"/>
            <a:ext cx="366761" cy="10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FBBB4675-67A9-4733-9ACE-3F9C1E472BA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1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>
            <a:extLst>
              <a:ext uri="{FF2B5EF4-FFF2-40B4-BE49-F238E27FC236}">
                <a16:creationId xmlns:a16="http://schemas.microsoft.com/office/drawing/2014/main" id="{63DF839A-205F-4C78-BF59-9C58E46F431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1128" cy="6858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0E23B81A-A437-423F-8C9D-B9D3DD1D82D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358" y="1736725"/>
            <a:ext cx="2508682" cy="3425825"/>
          </a:xfrm>
          <a:prstGeom prst="rect">
            <a:avLst/>
          </a:prstGeom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828009F-0CE9-4D7F-AD87-B342B49943A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342009" y="6617933"/>
            <a:ext cx="366761" cy="10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0B5B413-55C8-4B45-9EF7-C8209EBA8F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 rtl="0"/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84" y="1732422"/>
            <a:ext cx="4036649" cy="592952"/>
          </a:xfrm>
        </p:spPr>
        <p:txBody>
          <a:bodyPr rtlCol="0" anchor="b"/>
          <a:lstStyle>
            <a:lvl1pPr marL="0" indent="0" algn="l">
              <a:buNone/>
              <a:defRPr sz="1500">
                <a:solidFill>
                  <a:schemeClr val="accent5"/>
                </a:solidFill>
              </a:defRPr>
            </a:lvl1pPr>
            <a:lvl2pPr marL="0" indent="0" algn="l">
              <a:buNone/>
              <a:defRPr sz="1500">
                <a:solidFill>
                  <a:schemeClr val="bg1"/>
                </a:solidFill>
              </a:defRPr>
            </a:lvl2pPr>
            <a:lvl3pPr marL="0" indent="0" algn="l">
              <a:buNone/>
              <a:defRPr sz="1500">
                <a:solidFill>
                  <a:schemeClr val="bg1"/>
                </a:solidFill>
              </a:defRPr>
            </a:lvl3pPr>
            <a:lvl4pPr marL="0" indent="0" algn="l">
              <a:buNone/>
              <a:defRPr sz="1500">
                <a:solidFill>
                  <a:schemeClr val="bg1"/>
                </a:solidFill>
              </a:defRPr>
            </a:lvl4pPr>
            <a:lvl5pPr marL="0" indent="0" algn="l">
              <a:buNone/>
              <a:defRPr sz="1500">
                <a:solidFill>
                  <a:schemeClr val="bg1"/>
                </a:solidFill>
              </a:defRPr>
            </a:lvl5pPr>
            <a:lvl6pPr marL="0" indent="0" algn="l">
              <a:buNone/>
              <a:defRPr sz="1500">
                <a:solidFill>
                  <a:schemeClr val="bg1"/>
                </a:solidFill>
              </a:defRPr>
            </a:lvl6pPr>
            <a:lvl7pPr marL="0" indent="0" algn="l">
              <a:buNone/>
              <a:defRPr sz="1500">
                <a:solidFill>
                  <a:schemeClr val="bg1"/>
                </a:solidFill>
              </a:defRPr>
            </a:lvl7pPr>
            <a:lvl8pPr marL="0" indent="0" algn="l">
              <a:buNone/>
              <a:defRPr sz="1500">
                <a:solidFill>
                  <a:schemeClr val="bg1"/>
                </a:solidFill>
              </a:defRPr>
            </a:lvl8pPr>
            <a:lvl9pPr marL="0" indent="0" algn="l">
              <a:buNone/>
              <a:defRPr sz="1500">
                <a:solidFill>
                  <a:schemeClr val="bg1"/>
                </a:solidFill>
              </a:defRPr>
            </a:lvl9pPr>
          </a:lstStyle>
          <a:p>
            <a:pPr rtl="0"/>
            <a:r>
              <a:rPr lang="ru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531684" y="2424948"/>
            <a:ext cx="4036649" cy="1620000"/>
          </a:xfrm>
        </p:spPr>
        <p:txBody>
          <a:bodyPr rtlCol="0" anchor="t"/>
          <a:lstStyle>
            <a:lvl1pPr>
              <a:defRPr sz="4050" i="1">
                <a:solidFill>
                  <a:schemeClr val="accent6"/>
                </a:solidFill>
              </a:defRPr>
            </a:lvl1pPr>
          </a:lstStyle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531683" y="4262151"/>
            <a:ext cx="4036649" cy="1080000"/>
          </a:xfrm>
        </p:spPr>
        <p:txBody>
          <a:bodyPr rtlCol="0"/>
          <a:lstStyle>
            <a:lvl1pPr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</a:defRPr>
            </a:lvl1pPr>
            <a:lvl2pPr marL="0" indent="0">
              <a:spcBef>
                <a:spcPts val="1350"/>
              </a:spcBef>
              <a:spcAft>
                <a:spcPts val="0"/>
              </a:spcAft>
              <a:buFont typeface="Arial" panose="020B0604020202020204" pitchFamily="34" charset="0"/>
              <a:buNone/>
              <a:defRPr sz="788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88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ru"/>
              <a:t>Click to edit Master text styles</a:t>
            </a:r>
          </a:p>
          <a:p>
            <a:pPr lvl="1" rtl="0"/>
            <a:r>
              <a:rPr lang="ru"/>
              <a:t>Second level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46A3ABDF-C141-4826-8B12-CEB06E401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526325" y="704850"/>
            <a:ext cx="54007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50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3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1251284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>
            <a:off x="0" y="1251284"/>
            <a:ext cx="9144000" cy="50131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EC456E87-EC51-5D4F-BF8F-15DAA0194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518" y="1628776"/>
            <a:ext cx="8532000" cy="3667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105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9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D2A91C0B-A240-E240-B49F-011F628B4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8" y="394914"/>
            <a:ext cx="8031676" cy="658439"/>
          </a:xfrm>
          <a:prstGeom prst="rect">
            <a:avLst/>
          </a:prstGeom>
        </p:spPr>
        <p:txBody>
          <a:bodyPr/>
          <a:lstStyle>
            <a:lvl1pPr>
              <a:defRPr sz="195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44405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10A47A0-0272-4F88-B445-BB3686021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9F73F3D-AC18-4194-B598-C3EAD1E2D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9D2D134-B9F6-498A-8A29-348A8E5D4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739179-2062-468C-B66C-A06C711F9F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683941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Разделитель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0" y="-4855"/>
            <a:ext cx="9167447" cy="68755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7677" y="1876897"/>
            <a:ext cx="5467071" cy="2958353"/>
          </a:xfrm>
        </p:spPr>
        <p:txBody>
          <a:bodyPr anchor="ctr">
            <a:normAutofit/>
          </a:bodyPr>
          <a:lstStyle>
            <a:lvl1pPr algn="l">
              <a:defRPr sz="36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11140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EDF6FD-6DF3-4A4A-9FFB-D5112362E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A9E3CC0-0171-4636-AFC3-088920D316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DE0F6F6-1643-4920-9D50-8A42D2039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06662-422C-4326-96B6-C6B24D8824DF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DCFAA2-7951-4D9C-8AAB-359AA031C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595CA5B-0517-401B-94FC-AC11C4B0D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286F9-525E-4C2F-8B9F-9430A94DE2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67719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2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59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10162747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0258A4-3CFC-4B34-8444-2CA7EF48E02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70B1A2-873A-4DF7-B165-92DF1299E94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3714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3409BB-9EF6-402C-89DB-BF00356F81C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770043-11AE-45CA-AE40-E20F8DEB9F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025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06806-9597-4CD4-A005-87028DD37D2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DE24E6-9D04-4DD8-8DB6-65AF753B984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513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CB8E83-05BB-4AD4-A572-C472EC3C0DF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2957C-4B4A-46E8-8E87-937949220B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1830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90080A-4948-4B32-8BD7-329EE533124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BB3E2-2B50-4168-A4AF-CAF666A21EF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71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0A30CAC2-050A-49EF-8CC5-EECB2D60AE0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01B6B58E-8CA6-47A8-B973-F9087B5AC32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289825CB-C609-40CA-8325-194A65EB0CB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4B2F7E-2E98-405D-99FA-FAC5E037AA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673729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1F915A-16B2-4CCB-B2BB-7785EBEB698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5478FD-6201-4157-A15E-69BFC0FCD7C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7974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60650B-6FE7-4A50-8CD6-CBA807C187F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FB6E50-D984-4A2C-9D1D-3E390086C61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8447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37914-6138-463E-B34E-3AECCA97F0C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4EAC2E-D040-43C4-B260-5A5919EC79C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1075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383DC-DE0F-43B6-A55C-9E3C1109A06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00159C-BC71-4561-932A-40EAE3A303E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950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9B1382-05B3-4DD2-9350-BE9BA9791CC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157C0C-4E91-4C34-A6C9-E15C8EB014C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1204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2503A3-26E1-468C-8B9F-3898BB84E49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11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7FEE13-58F5-48A5-B422-CAD2371F1F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0317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0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aphicFrame>
        <p:nvGraphicFramePr>
          <p:cNvPr id="16" name="Object 19"/>
          <p:cNvGraphicFramePr>
            <a:graphicFrameLocks noChangeAspect="1"/>
          </p:cNvGraphicFramePr>
          <p:nvPr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6840" imgH="456840" progId="">
                  <p:embed/>
                </p:oleObj>
              </mc:Choice>
              <mc:Fallback>
                <p:oleObj name="CorelDRAW" r:id="rId2" imgW="456840" imgH="456840" progId="">
                  <p:embed/>
                  <p:pic>
                    <p:nvPicPr>
                      <p:cNvPr id="16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/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2D1D6-A579-4DD1-ADC6-309C8B38BB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225770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96754-F60E-4523-8900-37E97F4F6E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4221965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B2BEC-9C06-4F49-B103-A9B26FE05E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3003387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CBDB5E-45DF-4EEB-957C-3B780043BC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548262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F3CE0953-A8A3-4B3F-9AF9-6B18826823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6475BF6D-AE84-4D8F-9C7B-5603317DA51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957B4B98-3A46-40A0-8ABA-272DC3435F7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9ABDD-5AA9-4121-BBD4-CCA88846FC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1073763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704CE-53EA-46AC-BBC6-2661A97AD0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05774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95E10-66CA-4683-9A06-1BE3E73504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49326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CAF2E-489F-4D55-9F02-0E36C302D7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620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A92EB-6879-4757-83FD-B9D11956A1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8556467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AF1DF-C1DF-4466-9EB4-66FDD5295F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970985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5438E4-0EB3-4A29-8D10-92C475212C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0095007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26664-DBF0-41CB-BF88-D1D69292A9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75868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0AAFCF9D-D473-46A9-A086-EAF49A13AADD}"/>
              </a:ext>
            </a:extLst>
          </p:cNvPr>
          <p:cNvGrpSpPr>
            <a:grpSpLocks/>
          </p:cNvGrpSpPr>
          <p:nvPr/>
        </p:nvGrpSpPr>
        <p:grpSpPr bwMode="auto">
          <a:xfrm>
            <a:off x="177801" y="230192"/>
            <a:ext cx="203200" cy="6503987"/>
            <a:chOff x="112" y="145"/>
            <a:chExt cx="128" cy="4097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0EFF7978-DE36-4AC4-A8F5-A4102FCEAD1C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A301AE50-61D3-4EA5-B655-5B2829BED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 sz="1350">
                <a:latin typeface="Times New Roman" pitchFamily="18" charset="0"/>
              </a:endParaRPr>
            </a:p>
          </p:txBody>
        </p:sp>
      </p:grpSp>
      <p:grpSp>
        <p:nvGrpSpPr>
          <p:cNvPr id="7" name="Group 5">
            <a:extLst>
              <a:ext uri="{FF2B5EF4-FFF2-40B4-BE49-F238E27FC236}">
                <a16:creationId xmlns:a16="http://schemas.microsoft.com/office/drawing/2014/main" id="{F77AD71B-E7A7-4944-9C15-F63A559A93F9}"/>
              </a:ext>
            </a:extLst>
          </p:cNvPr>
          <p:cNvGrpSpPr>
            <a:grpSpLocks/>
          </p:cNvGrpSpPr>
          <p:nvPr/>
        </p:nvGrpSpPr>
        <p:grpSpPr bwMode="auto">
          <a:xfrm>
            <a:off x="8793165" y="220667"/>
            <a:ext cx="198437" cy="6408737"/>
            <a:chOff x="5539" y="139"/>
            <a:chExt cx="125" cy="4037"/>
          </a:xfrm>
        </p:grpSpPr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80F46A38-688A-4C1F-9285-827BCCC96A6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BD390B0E-9BC6-469D-B9AE-4B323205FB4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pSp>
        <p:nvGrpSpPr>
          <p:cNvPr id="10" name="Group 8">
            <a:extLst>
              <a:ext uri="{FF2B5EF4-FFF2-40B4-BE49-F238E27FC236}">
                <a16:creationId xmlns:a16="http://schemas.microsoft.com/office/drawing/2014/main" id="{5E835B1A-6743-49F1-89F5-AE1DC3E19E82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A21E80C4-8DD7-4455-A1BF-E0FA55092DD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46CE4D4D-87B3-4AF2-8F95-FFE1614FBE4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pSp>
        <p:nvGrpSpPr>
          <p:cNvPr id="13" name="Group 11">
            <a:extLst>
              <a:ext uri="{FF2B5EF4-FFF2-40B4-BE49-F238E27FC236}">
                <a16:creationId xmlns:a16="http://schemas.microsoft.com/office/drawing/2014/main" id="{6F2C5EE8-D5C8-4B8C-A2B3-757D21247DAA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4"/>
            <a:ext cx="8745538" cy="161925"/>
            <a:chOff x="48" y="111"/>
            <a:chExt cx="5509" cy="102"/>
          </a:xfrm>
        </p:grpSpPr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3BBCBB04-0B3C-4ADD-AD50-97768104A0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CCA0B95A-58FF-4745-9E9F-14583A799F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aphicFrame>
        <p:nvGraphicFramePr>
          <p:cNvPr id="16" name="Object 19">
            <a:extLst>
              <a:ext uri="{FF2B5EF4-FFF2-40B4-BE49-F238E27FC236}">
                <a16:creationId xmlns:a16="http://schemas.microsoft.com/office/drawing/2014/main" id="{B98AF2B6-7754-4716-BD4A-FAA686DCC23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6" name="Object 19">
                        <a:extLst>
                          <a:ext uri="{FF2B5EF4-FFF2-40B4-BE49-F238E27FC236}">
                            <a16:creationId xmlns:a16="http://schemas.microsoft.com/office/drawing/2014/main" id="{B98AF2B6-7754-4716-BD4A-FAA686DCC2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225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575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FFD873-0B69-450B-8147-51BDB950FCA9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622EF7-2C93-4460-A00F-AF68BE61393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2AD25C-7C89-42CC-9E46-2D61C0EE576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DFD8EF-D8DB-488B-B906-D7646CCAA5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510599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27AF597C-EC36-442B-861B-51627E20C97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3580066B-29FF-480F-8833-63200924ADA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FB08BE8E-991C-4F57-B846-7B8C539BB21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80948-7D1D-4F8C-AF7B-3326F4E0C6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621638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2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125"/>
            </a:lvl1pPr>
            <a:lvl2pPr marL="257175" indent="0">
              <a:buNone/>
              <a:defRPr sz="1013"/>
            </a:lvl2pPr>
            <a:lvl3pPr marL="514350" indent="0">
              <a:buNone/>
              <a:defRPr sz="900"/>
            </a:lvl3pPr>
            <a:lvl4pPr marL="771525" indent="0">
              <a:buNone/>
              <a:defRPr sz="788"/>
            </a:lvl4pPr>
            <a:lvl5pPr marL="1028700" indent="0">
              <a:buNone/>
              <a:defRPr sz="788"/>
            </a:lvl5pPr>
            <a:lvl6pPr marL="1285875" indent="0">
              <a:buNone/>
              <a:defRPr sz="788"/>
            </a:lvl6pPr>
            <a:lvl7pPr marL="1543050" indent="0">
              <a:buNone/>
              <a:defRPr sz="788"/>
            </a:lvl7pPr>
            <a:lvl8pPr marL="1800225" indent="0">
              <a:buNone/>
              <a:defRPr sz="788"/>
            </a:lvl8pPr>
            <a:lvl9pPr marL="2057400" indent="0">
              <a:buNone/>
              <a:defRPr sz="78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A184FBE6-32FB-4127-A59B-838483DB75F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83F9F7B5-1924-4E26-9CBB-2B0E054B621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DE5FF142-089D-44CF-A764-BD44655EF83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6E805-CAE9-4532-A168-77FE78E9750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941866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C7C2AE77-E9EC-415F-A218-CBD47AC5460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4B7F7D0C-9BF7-4BC2-B91A-B6791FC78A4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2B4FC2F3-9C71-4057-9D2D-A8F5C5D4AAC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FC467-9D28-4F57-966C-1DDF448BF9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288225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DD0BE185-DA17-4F45-AA75-516EE4841BC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457A1618-EDB9-4285-A31A-04A811B6911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9D45B8F7-BA47-4326-B50C-46813EEA977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E3E3CD-72C8-4267-B97D-E6B5ABB3AD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78393165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350"/>
            </a:lvl1pPr>
            <a:lvl2pPr>
              <a:defRPr sz="1125"/>
            </a:lvl2pPr>
            <a:lvl3pPr>
              <a:defRPr sz="1013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350"/>
            </a:lvl1pPr>
            <a:lvl2pPr>
              <a:defRPr sz="1125"/>
            </a:lvl2pPr>
            <a:lvl3pPr>
              <a:defRPr sz="1013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7B4176C3-C5AA-4434-8D9A-4E22B484035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7C2885B4-A82D-4F2C-8697-50EE4BDCC76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70B0E130-9DF0-4224-914D-ADB1790883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D69CA2-4A89-4764-A664-9965836E6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4958839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F755703E-5487-4ADF-8A73-21A9752733C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C3C5D36E-4B1C-4DCD-A053-B276E9B78A6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8E03C9E3-1259-4C78-999A-E3C7CC69F6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53DA7-55E1-4541-A4A4-12EED7B97F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4352571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>
            <a:extLst>
              <a:ext uri="{FF2B5EF4-FFF2-40B4-BE49-F238E27FC236}">
                <a16:creationId xmlns:a16="http://schemas.microsoft.com/office/drawing/2014/main" id="{57231626-34B3-4014-8CB6-8C71EBDDFFC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9D7A4161-0E4F-43AA-B4FA-9F1C0F26643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1">
            <a:extLst>
              <a:ext uri="{FF2B5EF4-FFF2-40B4-BE49-F238E27FC236}">
                <a16:creationId xmlns:a16="http://schemas.microsoft.com/office/drawing/2014/main" id="{C3FB0E8A-E109-4375-8950-33A25476DA2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F560B-BE55-4B6E-9AB7-39D4C77042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60701345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11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788"/>
            </a:lvl1pPr>
            <a:lvl2pPr marL="257175" indent="0">
              <a:buNone/>
              <a:defRPr sz="675"/>
            </a:lvl2pPr>
            <a:lvl3pPr marL="514350" indent="0">
              <a:buNone/>
              <a:defRPr sz="563"/>
            </a:lvl3pPr>
            <a:lvl4pPr marL="771525" indent="0">
              <a:buNone/>
              <a:defRPr sz="506"/>
            </a:lvl4pPr>
            <a:lvl5pPr marL="1028700" indent="0">
              <a:buNone/>
              <a:defRPr sz="506"/>
            </a:lvl5pPr>
            <a:lvl6pPr marL="1285875" indent="0">
              <a:buNone/>
              <a:defRPr sz="506"/>
            </a:lvl6pPr>
            <a:lvl7pPr marL="1543050" indent="0">
              <a:buNone/>
              <a:defRPr sz="506"/>
            </a:lvl7pPr>
            <a:lvl8pPr marL="1800225" indent="0">
              <a:buNone/>
              <a:defRPr sz="506"/>
            </a:lvl8pPr>
            <a:lvl9pPr marL="2057400" indent="0">
              <a:buNone/>
              <a:defRPr sz="50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4C0012AF-73EE-456E-B7CE-A16D0D37302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7BD24BD2-D5E9-4946-9653-4CBE81A8B3F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E5DAFF95-4FB7-4535-8881-596DD90E2D0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303E84-FBC8-44F7-B9E4-3793B64373F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2756703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11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788"/>
            </a:lvl1pPr>
            <a:lvl2pPr marL="257175" indent="0">
              <a:buNone/>
              <a:defRPr sz="675"/>
            </a:lvl2pPr>
            <a:lvl3pPr marL="514350" indent="0">
              <a:buNone/>
              <a:defRPr sz="563"/>
            </a:lvl3pPr>
            <a:lvl4pPr marL="771525" indent="0">
              <a:buNone/>
              <a:defRPr sz="506"/>
            </a:lvl4pPr>
            <a:lvl5pPr marL="1028700" indent="0">
              <a:buNone/>
              <a:defRPr sz="506"/>
            </a:lvl5pPr>
            <a:lvl6pPr marL="1285875" indent="0">
              <a:buNone/>
              <a:defRPr sz="506"/>
            </a:lvl6pPr>
            <a:lvl7pPr marL="1543050" indent="0">
              <a:buNone/>
              <a:defRPr sz="506"/>
            </a:lvl7pPr>
            <a:lvl8pPr marL="1800225" indent="0">
              <a:buNone/>
              <a:defRPr sz="506"/>
            </a:lvl8pPr>
            <a:lvl9pPr marL="2057400" indent="0">
              <a:buNone/>
              <a:defRPr sz="50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7A201D3C-A032-435F-A4CC-EEBAE121F1A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2DD5BA80-B96D-4E2A-9255-F4B3B9233EF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7B2C6AE8-190A-4244-BAF4-B267C6B23E1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671E12-4AB0-4624-A03E-B2A402508C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093936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FF83074B-EF3A-42F0-9CA4-F8900C21C66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CE14D724-E57C-4035-8513-70173C16845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7F55380C-2DA5-4479-A5F2-C8022A62DBB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E052C-845D-434A-BA3B-FD97F985639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2252379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334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3340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679962C1-1692-4807-9DC5-DE886F79DA0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5193999B-BBEE-435C-98BA-403C78B3E4D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3111F21F-A336-476F-BB7C-5AF6612194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B85770-28C3-4AC9-BF62-21A400F2329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9860795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A370D8-4E95-4052-9DAE-D5B724E0377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E7CA5B-B46F-4D8E-9782-04FC62C770D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E8E2A4-7F57-47DB-8324-D5761C5180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350DD6-E38A-4A9F-83BF-A1180C54EBE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242163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39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C06F3923-93B8-48B0-8A86-0346A54413B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65B6E098-39EC-4ECD-BE65-6BF9611741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B9CB0AF5-DC81-4C4A-A3D9-D7284D5F2F2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6EDF70-426F-4118-BAC6-230EDD2962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8108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387D2014-E964-4043-8437-BD76D614E5C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DEDA8EC4-6FFB-4BBE-A474-70F4B238805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DFD2707B-BED1-477F-A5F9-51CB1725FB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F66788-5782-4F98-975B-FC110CA8C2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3602256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7"/>
            <a:ext cx="82296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2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D4A6201E-3EE4-4C2C-AE31-96101B4ACCF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31A5361B-6BD0-45E6-87D8-E9EF3B7D612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7E283842-5307-4062-82AF-1C5C0B570A6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6766BD-A181-4684-817F-B20F077DE31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4267763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627" y="609600"/>
            <a:ext cx="8080375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2625" y="1981200"/>
            <a:ext cx="77724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FB4148D-C2F7-405C-9624-A2774503D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F74511D-4F83-4F7D-B5C2-8F1AE459A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BF37B10-0845-4F0E-A842-DB5AB240B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2pPr lvl="1" eaLnBrk="1" hangingPunct="1">
              <a:defRPr/>
            </a:lvl2pPr>
          </a:lstStyle>
          <a:p>
            <a:pPr lvl="1">
              <a:defRPr/>
            </a:pPr>
            <a:fld id="{8ADC15CE-F072-431C-8E1F-BFBE5AA883D0}" type="slidenum">
              <a:rPr lang="ru-RU" altLang="ru-RU"/>
              <a:pPr lvl="1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927928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315063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8045158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694" y="1571625"/>
            <a:ext cx="8505923" cy="39433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5060" y="333074"/>
            <a:ext cx="8494834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dirty="0"/>
              <a:t>Click to edit Master title slide</a:t>
            </a:r>
          </a:p>
        </p:txBody>
      </p:sp>
    </p:spTree>
    <p:extLst>
      <p:ext uri="{BB962C8B-B14F-4D97-AF65-F5344CB8AC3E}">
        <p14:creationId xmlns:p14="http://schemas.microsoft.com/office/powerpoint/2010/main" val="27584675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2AA09FE1-1DF8-ECC7-322E-6CD784FEE60B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3" name="Rectangle 3">
              <a:extLst>
                <a:ext uri="{FF2B5EF4-FFF2-40B4-BE49-F238E27FC236}">
                  <a16:creationId xmlns:a16="http://schemas.microsoft.com/office/drawing/2014/main" id="{94E332F2-4E0D-D146-63EA-CFBDD6A3CDAE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4" name="Rectangle 4">
              <a:extLst>
                <a:ext uri="{FF2B5EF4-FFF2-40B4-BE49-F238E27FC236}">
                  <a16:creationId xmlns:a16="http://schemas.microsoft.com/office/drawing/2014/main" id="{8AA652BF-1797-8C3E-1D50-DEB4AB5B6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endParaRPr kumimoji="0" lang="ru-RU" altLang="ru-RU">
                <a:latin typeface="Times New Roman" panose="02020603050405020304" pitchFamily="18" charset="0"/>
              </a:endParaRPr>
            </a:p>
          </p:txBody>
        </p:sp>
      </p:grpSp>
      <p:grpSp>
        <p:nvGrpSpPr>
          <p:cNvPr id="5" name="Group 5">
            <a:extLst>
              <a:ext uri="{FF2B5EF4-FFF2-40B4-BE49-F238E27FC236}">
                <a16:creationId xmlns:a16="http://schemas.microsoft.com/office/drawing/2014/main" id="{A237C561-31D7-12A5-815E-352E453A82AD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6" name="Rectangle 6">
              <a:extLst>
                <a:ext uri="{FF2B5EF4-FFF2-40B4-BE49-F238E27FC236}">
                  <a16:creationId xmlns:a16="http://schemas.microsoft.com/office/drawing/2014/main" id="{FBE6BB07-18E2-78E8-D4DC-488E75A9F1C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id="{0969024C-8056-36DC-F5C5-5EEA2340750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96E7E9CA-E318-F521-57E3-A3805C978E18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id="{677DD26A-4C7D-0404-E34A-B020F7CB5F5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B2D55431-0ACA-DDB8-D64A-2CF0B253164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2C1AB1FA-8C40-FD98-7869-60F604548E2E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0BBF8B2D-5E98-2DD0-6386-47DC23540B4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47283E03-CD6D-BD6D-3DED-F0D5179178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aphicFrame>
        <p:nvGraphicFramePr>
          <p:cNvPr id="14" name="Object 19">
            <a:extLst>
              <a:ext uri="{FF2B5EF4-FFF2-40B4-BE49-F238E27FC236}">
                <a16:creationId xmlns:a16="http://schemas.microsoft.com/office/drawing/2014/main" id="{B63EC635-54B0-AC26-DA06-4A98232FA60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8686800" y="6400800"/>
          <a:ext cx="45720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orelDRAW" r:id="rId2" imgW="457200" imgH="457200" progId="">
                  <p:embed/>
                </p:oleObj>
              </mc:Choice>
              <mc:Fallback>
                <p:oleObj name="CorelDRAW" r:id="rId2" imgW="457200" imgH="457200" progId="">
                  <p:embed/>
                  <p:pic>
                    <p:nvPicPr>
                      <p:cNvPr id="14" name="Object 19">
                        <a:extLst>
                          <a:ext uri="{FF2B5EF4-FFF2-40B4-BE49-F238E27FC236}">
                            <a16:creationId xmlns:a16="http://schemas.microsoft.com/office/drawing/2014/main" id="{B63EC635-54B0-AC26-DA06-4A98232FA6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86800" y="6400800"/>
                        <a:ext cx="457200" cy="457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981200"/>
            <a:ext cx="7772400" cy="1143000"/>
          </a:xfrm>
        </p:spPr>
        <p:txBody>
          <a:bodyPr anchor="ctr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70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5CAFB008-4230-18FF-3BE5-3F439905EBE3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>
          <a:xfrm>
            <a:off x="439738" y="5989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B4A30A85-443C-8EDE-D4D5-5F506A26625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3135313" y="60023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" name="Rectangle 18">
            <a:extLst>
              <a:ext uri="{FF2B5EF4-FFF2-40B4-BE49-F238E27FC236}">
                <a16:creationId xmlns:a16="http://schemas.microsoft.com/office/drawing/2014/main" id="{1509086D-399B-7963-B657-B67F3C071C4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00850" y="5978525"/>
            <a:ext cx="1905000" cy="457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627406F-E23D-45E3-B1D3-D19FE2C0EA2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669847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A3F9FB20-622F-741A-BBB7-8CC8990BB8F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964E27B7-DB47-FFB6-7C7F-6BFA0ED0CB7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D7B83435-87CA-2780-5069-97EBDA859AF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E0D104-5FCA-49B2-A1B1-7D63FF6CFF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0945285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1AF6F894-CC8B-3025-954D-24F2F9E9A97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B9C3D2EE-34E5-29FB-14FE-BE8AC5027F1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1">
            <a:extLst>
              <a:ext uri="{FF2B5EF4-FFF2-40B4-BE49-F238E27FC236}">
                <a16:creationId xmlns:a16="http://schemas.microsoft.com/office/drawing/2014/main" id="{FC718FC4-E803-96D6-B810-54587947681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BFD371-9BA3-46C2-B399-B80549E797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90906631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38100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9">
            <a:extLst>
              <a:ext uri="{FF2B5EF4-FFF2-40B4-BE49-F238E27FC236}">
                <a16:creationId xmlns:a16="http://schemas.microsoft.com/office/drawing/2014/main" id="{52601FB3-595C-1DF2-F946-886DF20D24C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2C9AA86D-7188-F12B-4716-BF1AA6C258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C361FE63-B156-8938-7C51-77661D8C56B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65E035-3C5A-42FC-928E-148754B98B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6096901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35166CC6-5BAB-CE2D-1FA9-5698AD06C6D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00084344-1ED6-2E3E-ABDB-3B86BE5713C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21">
            <a:extLst>
              <a:ext uri="{FF2B5EF4-FFF2-40B4-BE49-F238E27FC236}">
                <a16:creationId xmlns:a16="http://schemas.microsoft.com/office/drawing/2014/main" id="{955C0ADF-F224-122D-49AA-480BFAE8ED9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B4F865-9CE6-4DF9-99DA-C5014650C1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77465742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9">
            <a:extLst>
              <a:ext uri="{FF2B5EF4-FFF2-40B4-BE49-F238E27FC236}">
                <a16:creationId xmlns:a16="http://schemas.microsoft.com/office/drawing/2014/main" id="{072A768E-D3F8-520D-0A8F-4C12A097202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20">
            <a:extLst>
              <a:ext uri="{FF2B5EF4-FFF2-40B4-BE49-F238E27FC236}">
                <a16:creationId xmlns:a16="http://schemas.microsoft.com/office/drawing/2014/main" id="{A4B98C2C-2A50-584E-77FB-7FFAC7FF300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21">
            <a:extLst>
              <a:ext uri="{FF2B5EF4-FFF2-40B4-BE49-F238E27FC236}">
                <a16:creationId xmlns:a16="http://schemas.microsoft.com/office/drawing/2014/main" id="{172F13FB-9E6A-9A52-4BA4-1B14C09409C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ECC795-13AA-42F3-A60D-CA16F39163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0238972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62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1.xml"/><Relationship Id="rId7" Type="http://schemas.openxmlformats.org/officeDocument/2006/relationships/theme" Target="../theme/theme18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16.xml"/><Relationship Id="rId16" Type="http://schemas.openxmlformats.org/officeDocument/2006/relationships/slideLayout" Target="../slideLayouts/slideLayout230.xml"/><Relationship Id="rId20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219.xml"/><Relationship Id="rId15" Type="http://schemas.openxmlformats.org/officeDocument/2006/relationships/slideLayout" Target="../slideLayouts/slideLayout229.xml"/><Relationship Id="rId23" Type="http://schemas.openxmlformats.org/officeDocument/2006/relationships/theme" Target="../theme/theme19.xml"/><Relationship Id="rId10" Type="http://schemas.openxmlformats.org/officeDocument/2006/relationships/slideLayout" Target="../slideLayouts/slideLayout224.xml"/><Relationship Id="rId19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8.xml"/><Relationship Id="rId22" Type="http://schemas.openxmlformats.org/officeDocument/2006/relationships/slideLayout" Target="../slideLayouts/slideLayout236.xml"/><Relationship Id="rId27" Type="http://schemas.openxmlformats.org/officeDocument/2006/relationships/image" Target="../media/image10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4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theme" Target="../theme/theme21.xml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4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91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90.xml"/><Relationship Id="rId11" Type="http://schemas.openxmlformats.org/officeDocument/2006/relationships/slideLayout" Target="../slideLayouts/slideLayout295.xml"/><Relationship Id="rId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93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3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97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300.xml"/><Relationship Id="rId10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0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311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1.xml"/><Relationship Id="rId3" Type="http://schemas.openxmlformats.org/officeDocument/2006/relationships/slideLayout" Target="../slideLayouts/slideLayout316.xml"/><Relationship Id="rId7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15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17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9.xml"/><Relationship Id="rId3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28.xml"/><Relationship Id="rId2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6.xml"/><Relationship Id="rId10" Type="http://schemas.openxmlformats.org/officeDocument/2006/relationships/theme" Target="../theme/theme28.xml"/><Relationship Id="rId4" Type="http://schemas.openxmlformats.org/officeDocument/2006/relationships/slideLayout" Target="../slideLayouts/slideLayout325.xml"/><Relationship Id="rId9" Type="http://schemas.openxmlformats.org/officeDocument/2006/relationships/slideLayout" Target="../slideLayouts/slideLayout330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3.xml"/><Relationship Id="rId7" Type="http://schemas.openxmlformats.org/officeDocument/2006/relationships/theme" Target="../theme/theme29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5" Type="http://schemas.openxmlformats.org/officeDocument/2006/relationships/slideLayout" Target="../slideLayouts/slideLayout335.xml"/><Relationship Id="rId4" Type="http://schemas.openxmlformats.org/officeDocument/2006/relationships/slideLayout" Target="../slideLayouts/slideLayout3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0" Type="http://schemas.openxmlformats.org/officeDocument/2006/relationships/slideLayout" Target="../slideLayouts/slideLayout34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slideLayout" Target="../slideLayouts/slideLayout361.xml"/><Relationship Id="rId18" Type="http://schemas.openxmlformats.org/officeDocument/2006/relationships/slideLayout" Target="../slideLayouts/slideLayout366.xml"/><Relationship Id="rId26" Type="http://schemas.openxmlformats.org/officeDocument/2006/relationships/slideLayout" Target="../slideLayouts/slideLayout374.xml"/><Relationship Id="rId3" Type="http://schemas.openxmlformats.org/officeDocument/2006/relationships/slideLayout" Target="../slideLayouts/slideLayout351.xml"/><Relationship Id="rId21" Type="http://schemas.openxmlformats.org/officeDocument/2006/relationships/slideLayout" Target="../slideLayouts/slideLayout369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17" Type="http://schemas.openxmlformats.org/officeDocument/2006/relationships/slideLayout" Target="../slideLayouts/slideLayout365.xml"/><Relationship Id="rId25" Type="http://schemas.openxmlformats.org/officeDocument/2006/relationships/slideLayout" Target="../slideLayouts/slideLayout373.xml"/><Relationship Id="rId2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364.xml"/><Relationship Id="rId20" Type="http://schemas.openxmlformats.org/officeDocument/2006/relationships/slideLayout" Target="../slideLayouts/slideLayout368.xml"/><Relationship Id="rId29" Type="http://schemas.openxmlformats.org/officeDocument/2006/relationships/image" Target="../media/image11.png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24" Type="http://schemas.openxmlformats.org/officeDocument/2006/relationships/slideLayout" Target="../slideLayouts/slideLayout372.xml"/><Relationship Id="rId32" Type="http://schemas.openxmlformats.org/officeDocument/2006/relationships/image" Target="../media/image14.png"/><Relationship Id="rId5" Type="http://schemas.openxmlformats.org/officeDocument/2006/relationships/slideLayout" Target="../slideLayouts/slideLayout353.xml"/><Relationship Id="rId15" Type="http://schemas.openxmlformats.org/officeDocument/2006/relationships/slideLayout" Target="../slideLayouts/slideLayout363.xml"/><Relationship Id="rId23" Type="http://schemas.openxmlformats.org/officeDocument/2006/relationships/slideLayout" Target="../slideLayouts/slideLayout371.xml"/><Relationship Id="rId28" Type="http://schemas.openxmlformats.org/officeDocument/2006/relationships/theme" Target="../theme/theme31.xml"/><Relationship Id="rId10" Type="http://schemas.openxmlformats.org/officeDocument/2006/relationships/slideLayout" Target="../slideLayouts/slideLayout358.xml"/><Relationship Id="rId19" Type="http://schemas.openxmlformats.org/officeDocument/2006/relationships/slideLayout" Target="../slideLayouts/slideLayout367.xml"/><Relationship Id="rId31" Type="http://schemas.openxmlformats.org/officeDocument/2006/relationships/image" Target="../media/image13.png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slideLayout" Target="../slideLayouts/slideLayout362.xml"/><Relationship Id="rId22" Type="http://schemas.openxmlformats.org/officeDocument/2006/relationships/slideLayout" Target="../slideLayouts/slideLayout370.xml"/><Relationship Id="rId27" Type="http://schemas.openxmlformats.org/officeDocument/2006/relationships/slideLayout" Target="../slideLayouts/slideLayout375.xml"/><Relationship Id="rId30" Type="http://schemas.openxmlformats.org/officeDocument/2006/relationships/image" Target="../media/image12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3.xml"/><Relationship Id="rId13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78.xml"/><Relationship Id="rId7" Type="http://schemas.openxmlformats.org/officeDocument/2006/relationships/slideLayout" Target="../slideLayouts/slideLayout382.xml"/><Relationship Id="rId12" Type="http://schemas.openxmlformats.org/officeDocument/2006/relationships/slideLayout" Target="../slideLayouts/slideLayout387.xml"/><Relationship Id="rId2" Type="http://schemas.openxmlformats.org/officeDocument/2006/relationships/slideLayout" Target="../slideLayouts/slideLayout377.xml"/><Relationship Id="rId1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81.xml"/><Relationship Id="rId11" Type="http://schemas.openxmlformats.org/officeDocument/2006/relationships/slideLayout" Target="../slideLayouts/slideLayout386.xml"/><Relationship Id="rId5" Type="http://schemas.openxmlformats.org/officeDocument/2006/relationships/slideLayout" Target="../slideLayouts/slideLayout380.xml"/><Relationship Id="rId10" Type="http://schemas.openxmlformats.org/officeDocument/2006/relationships/slideLayout" Target="../slideLayouts/slideLayout385.xml"/><Relationship Id="rId4" Type="http://schemas.openxmlformats.org/officeDocument/2006/relationships/slideLayout" Target="../slideLayouts/slideLayout379.xml"/><Relationship Id="rId9" Type="http://schemas.openxmlformats.org/officeDocument/2006/relationships/slideLayout" Target="../slideLayouts/slideLayout384.xml"/><Relationship Id="rId14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theme" Target="../theme/theme34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12" Type="http://schemas.openxmlformats.org/officeDocument/2006/relationships/slideLayout" Target="../slideLayouts/slideLayout411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slideLayout" Target="../slideLayouts/slideLayout410.xml"/><Relationship Id="rId5" Type="http://schemas.openxmlformats.org/officeDocument/2006/relationships/slideLayout" Target="../slideLayouts/slideLayout404.xml"/><Relationship Id="rId10" Type="http://schemas.openxmlformats.org/officeDocument/2006/relationships/slideLayout" Target="../slideLayouts/slideLayout409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9.xml"/><Relationship Id="rId3" Type="http://schemas.openxmlformats.org/officeDocument/2006/relationships/slideLayout" Target="../slideLayouts/slideLayout414.xml"/><Relationship Id="rId7" Type="http://schemas.openxmlformats.org/officeDocument/2006/relationships/slideLayout" Target="../slideLayouts/slideLayout418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413.xml"/><Relationship Id="rId1" Type="http://schemas.openxmlformats.org/officeDocument/2006/relationships/slideLayout" Target="../slideLayouts/slideLayout412.xml"/><Relationship Id="rId6" Type="http://schemas.openxmlformats.org/officeDocument/2006/relationships/slideLayout" Target="../slideLayouts/slideLayout417.xml"/><Relationship Id="rId11" Type="http://schemas.openxmlformats.org/officeDocument/2006/relationships/slideLayout" Target="../slideLayouts/slideLayout422.xml"/><Relationship Id="rId5" Type="http://schemas.openxmlformats.org/officeDocument/2006/relationships/slideLayout" Target="../slideLayouts/slideLayout416.xml"/><Relationship Id="rId10" Type="http://schemas.openxmlformats.org/officeDocument/2006/relationships/slideLayout" Target="../slideLayouts/slideLayout421.xml"/><Relationship Id="rId4" Type="http://schemas.openxmlformats.org/officeDocument/2006/relationships/slideLayout" Target="../slideLayouts/slideLayout415.xml"/><Relationship Id="rId9" Type="http://schemas.openxmlformats.org/officeDocument/2006/relationships/slideLayout" Target="../slideLayouts/slideLayout420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slideLayout" Target="../slideLayouts/slideLayout435.xml"/><Relationship Id="rId18" Type="http://schemas.openxmlformats.org/officeDocument/2006/relationships/slideLayout" Target="../slideLayouts/slideLayout440.xml"/><Relationship Id="rId3" Type="http://schemas.openxmlformats.org/officeDocument/2006/relationships/slideLayout" Target="../slideLayouts/slideLayout425.xml"/><Relationship Id="rId21" Type="http://schemas.openxmlformats.org/officeDocument/2006/relationships/image" Target="../media/image19.png"/><Relationship Id="rId7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4.xml"/><Relationship Id="rId17" Type="http://schemas.openxmlformats.org/officeDocument/2006/relationships/slideLayout" Target="../slideLayouts/slideLayout439.xml"/><Relationship Id="rId2" Type="http://schemas.openxmlformats.org/officeDocument/2006/relationships/slideLayout" Target="../slideLayouts/slideLayout424.xml"/><Relationship Id="rId16" Type="http://schemas.openxmlformats.org/officeDocument/2006/relationships/slideLayout" Target="../slideLayouts/slideLayout438.xml"/><Relationship Id="rId20" Type="http://schemas.openxmlformats.org/officeDocument/2006/relationships/theme" Target="../theme/theme36.xml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437.xml"/><Relationship Id="rId10" Type="http://schemas.openxmlformats.org/officeDocument/2006/relationships/slideLayout" Target="../slideLayouts/slideLayout432.xml"/><Relationship Id="rId19" Type="http://schemas.openxmlformats.org/officeDocument/2006/relationships/slideLayout" Target="../slideLayouts/slideLayout441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slideLayout" Target="../slideLayouts/slideLayout436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9.xml"/><Relationship Id="rId13" Type="http://schemas.openxmlformats.org/officeDocument/2006/relationships/slideLayout" Target="../slideLayouts/slideLayout454.xml"/><Relationship Id="rId18" Type="http://schemas.openxmlformats.org/officeDocument/2006/relationships/slideLayout" Target="../slideLayouts/slideLayout459.xml"/><Relationship Id="rId3" Type="http://schemas.openxmlformats.org/officeDocument/2006/relationships/slideLayout" Target="../slideLayouts/slideLayout444.xml"/><Relationship Id="rId7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3.xml"/><Relationship Id="rId17" Type="http://schemas.openxmlformats.org/officeDocument/2006/relationships/slideLayout" Target="../slideLayouts/slideLayout458.xml"/><Relationship Id="rId2" Type="http://schemas.openxmlformats.org/officeDocument/2006/relationships/slideLayout" Target="../slideLayouts/slideLayout443.xml"/><Relationship Id="rId16" Type="http://schemas.openxmlformats.org/officeDocument/2006/relationships/slideLayout" Target="../slideLayouts/slideLayout457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442.xml"/><Relationship Id="rId6" Type="http://schemas.openxmlformats.org/officeDocument/2006/relationships/slideLayout" Target="../slideLayouts/slideLayout447.xml"/><Relationship Id="rId11" Type="http://schemas.openxmlformats.org/officeDocument/2006/relationships/slideLayout" Target="../slideLayouts/slideLayout452.xml"/><Relationship Id="rId5" Type="http://schemas.openxmlformats.org/officeDocument/2006/relationships/slideLayout" Target="../slideLayouts/slideLayout446.xml"/><Relationship Id="rId15" Type="http://schemas.openxmlformats.org/officeDocument/2006/relationships/slideLayout" Target="../slideLayouts/slideLayout456.xml"/><Relationship Id="rId10" Type="http://schemas.openxmlformats.org/officeDocument/2006/relationships/slideLayout" Target="../slideLayouts/slideLayout451.xml"/><Relationship Id="rId19" Type="http://schemas.openxmlformats.org/officeDocument/2006/relationships/theme" Target="../theme/theme37.xml"/><Relationship Id="rId4" Type="http://schemas.openxmlformats.org/officeDocument/2006/relationships/slideLayout" Target="../slideLayouts/slideLayout445.xml"/><Relationship Id="rId9" Type="http://schemas.openxmlformats.org/officeDocument/2006/relationships/slideLayout" Target="../slideLayouts/slideLayout450.xml"/><Relationship Id="rId14" Type="http://schemas.openxmlformats.org/officeDocument/2006/relationships/slideLayout" Target="../slideLayouts/slideLayout455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3" Type="http://schemas.openxmlformats.org/officeDocument/2006/relationships/slideLayout" Target="../slideLayouts/slideLayout462.xml"/><Relationship Id="rId7" Type="http://schemas.openxmlformats.org/officeDocument/2006/relationships/slideLayout" Target="../slideLayouts/slideLayout466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461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470.xml"/><Relationship Id="rId5" Type="http://schemas.openxmlformats.org/officeDocument/2006/relationships/slideLayout" Target="../slideLayouts/slideLayout464.xml"/><Relationship Id="rId10" Type="http://schemas.openxmlformats.org/officeDocument/2006/relationships/slideLayout" Target="../slideLayouts/slideLayout469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8.xml"/><Relationship Id="rId13" Type="http://schemas.openxmlformats.org/officeDocument/2006/relationships/slideLayout" Target="../slideLayouts/slideLayout483.xml"/><Relationship Id="rId18" Type="http://schemas.openxmlformats.org/officeDocument/2006/relationships/slideLayout" Target="../slideLayouts/slideLayout488.xml"/><Relationship Id="rId26" Type="http://schemas.openxmlformats.org/officeDocument/2006/relationships/image" Target="../media/image12.png"/><Relationship Id="rId3" Type="http://schemas.openxmlformats.org/officeDocument/2006/relationships/slideLayout" Target="../slideLayouts/slideLayout473.xml"/><Relationship Id="rId21" Type="http://schemas.openxmlformats.org/officeDocument/2006/relationships/slideLayout" Target="../slideLayouts/slideLayout491.xml"/><Relationship Id="rId7" Type="http://schemas.openxmlformats.org/officeDocument/2006/relationships/slideLayout" Target="../slideLayouts/slideLayout477.xml"/><Relationship Id="rId12" Type="http://schemas.openxmlformats.org/officeDocument/2006/relationships/slideLayout" Target="../slideLayouts/slideLayout482.xml"/><Relationship Id="rId17" Type="http://schemas.openxmlformats.org/officeDocument/2006/relationships/slideLayout" Target="../slideLayouts/slideLayout487.xml"/><Relationship Id="rId25" Type="http://schemas.openxmlformats.org/officeDocument/2006/relationships/image" Target="../media/image11.png"/><Relationship Id="rId2" Type="http://schemas.openxmlformats.org/officeDocument/2006/relationships/slideLayout" Target="../slideLayouts/slideLayout472.xml"/><Relationship Id="rId16" Type="http://schemas.openxmlformats.org/officeDocument/2006/relationships/slideLayout" Target="../slideLayouts/slideLayout486.xml"/><Relationship Id="rId20" Type="http://schemas.openxmlformats.org/officeDocument/2006/relationships/slideLayout" Target="../slideLayouts/slideLayout490.xml"/><Relationship Id="rId1" Type="http://schemas.openxmlformats.org/officeDocument/2006/relationships/slideLayout" Target="../slideLayouts/slideLayout471.xml"/><Relationship Id="rId6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81.xml"/><Relationship Id="rId24" Type="http://schemas.openxmlformats.org/officeDocument/2006/relationships/theme" Target="../theme/theme39.xml"/><Relationship Id="rId5" Type="http://schemas.openxmlformats.org/officeDocument/2006/relationships/slideLayout" Target="../slideLayouts/slideLayout475.xml"/><Relationship Id="rId15" Type="http://schemas.openxmlformats.org/officeDocument/2006/relationships/slideLayout" Target="../slideLayouts/slideLayout485.xml"/><Relationship Id="rId23" Type="http://schemas.openxmlformats.org/officeDocument/2006/relationships/slideLayout" Target="../slideLayouts/slideLayout493.xml"/><Relationship Id="rId28" Type="http://schemas.openxmlformats.org/officeDocument/2006/relationships/image" Target="../media/image14.png"/><Relationship Id="rId10" Type="http://schemas.openxmlformats.org/officeDocument/2006/relationships/slideLayout" Target="../slideLayouts/slideLayout480.xml"/><Relationship Id="rId19" Type="http://schemas.openxmlformats.org/officeDocument/2006/relationships/slideLayout" Target="../slideLayouts/slideLayout489.xml"/><Relationship Id="rId4" Type="http://schemas.openxmlformats.org/officeDocument/2006/relationships/slideLayout" Target="../slideLayouts/slideLayout474.xml"/><Relationship Id="rId9" Type="http://schemas.openxmlformats.org/officeDocument/2006/relationships/slideLayout" Target="../slideLayouts/slideLayout479.xml"/><Relationship Id="rId14" Type="http://schemas.openxmlformats.org/officeDocument/2006/relationships/slideLayout" Target="../slideLayouts/slideLayout484.xml"/><Relationship Id="rId22" Type="http://schemas.openxmlformats.org/officeDocument/2006/relationships/slideLayout" Target="../slideLayouts/slideLayout492.xml"/><Relationship Id="rId27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theme" Target="../theme/theme40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5" Type="http://schemas.openxmlformats.org/officeDocument/2006/relationships/slideLayout" Target="../slideLayouts/slideLayout498.xml"/><Relationship Id="rId4" Type="http://schemas.openxmlformats.org/officeDocument/2006/relationships/slideLayout" Target="../slideLayouts/slideLayout497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8.xml"/><Relationship Id="rId3" Type="http://schemas.openxmlformats.org/officeDocument/2006/relationships/slideLayout" Target="../slideLayouts/slideLayout503.xml"/><Relationship Id="rId7" Type="http://schemas.openxmlformats.org/officeDocument/2006/relationships/slideLayout" Target="../slideLayouts/slideLayout507.xml"/><Relationship Id="rId2" Type="http://schemas.openxmlformats.org/officeDocument/2006/relationships/slideLayout" Target="../slideLayouts/slideLayout502.xml"/><Relationship Id="rId1" Type="http://schemas.openxmlformats.org/officeDocument/2006/relationships/slideLayout" Target="../slideLayouts/slideLayout501.xml"/><Relationship Id="rId6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505.xml"/><Relationship Id="rId10" Type="http://schemas.openxmlformats.org/officeDocument/2006/relationships/theme" Target="../theme/theme41.xml"/><Relationship Id="rId4" Type="http://schemas.openxmlformats.org/officeDocument/2006/relationships/slideLayout" Target="../slideLayouts/slideLayout504.xml"/><Relationship Id="rId9" Type="http://schemas.openxmlformats.org/officeDocument/2006/relationships/slideLayout" Target="../slideLayouts/slideLayout509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7.xml"/><Relationship Id="rId13" Type="http://schemas.openxmlformats.org/officeDocument/2006/relationships/slideLayout" Target="../slideLayouts/slideLayout522.xml"/><Relationship Id="rId18" Type="http://schemas.openxmlformats.org/officeDocument/2006/relationships/slideLayout" Target="../slideLayouts/slideLayout527.xml"/><Relationship Id="rId3" Type="http://schemas.openxmlformats.org/officeDocument/2006/relationships/slideLayout" Target="../slideLayouts/slideLayout512.xml"/><Relationship Id="rId21" Type="http://schemas.openxmlformats.org/officeDocument/2006/relationships/slideLayout" Target="../slideLayouts/slideLayout530.xml"/><Relationship Id="rId7" Type="http://schemas.openxmlformats.org/officeDocument/2006/relationships/slideLayout" Target="../slideLayouts/slideLayout516.xml"/><Relationship Id="rId12" Type="http://schemas.openxmlformats.org/officeDocument/2006/relationships/slideLayout" Target="../slideLayouts/slideLayout521.xml"/><Relationship Id="rId17" Type="http://schemas.openxmlformats.org/officeDocument/2006/relationships/slideLayout" Target="../slideLayouts/slideLayout526.xml"/><Relationship Id="rId2" Type="http://schemas.openxmlformats.org/officeDocument/2006/relationships/slideLayout" Target="../slideLayouts/slideLayout511.xml"/><Relationship Id="rId16" Type="http://schemas.openxmlformats.org/officeDocument/2006/relationships/slideLayout" Target="../slideLayouts/slideLayout525.xml"/><Relationship Id="rId20" Type="http://schemas.openxmlformats.org/officeDocument/2006/relationships/slideLayout" Target="../slideLayouts/slideLayout529.xml"/><Relationship Id="rId1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5.xml"/><Relationship Id="rId11" Type="http://schemas.openxmlformats.org/officeDocument/2006/relationships/slideLayout" Target="../slideLayouts/slideLayout520.xml"/><Relationship Id="rId5" Type="http://schemas.openxmlformats.org/officeDocument/2006/relationships/slideLayout" Target="../slideLayouts/slideLayout514.xml"/><Relationship Id="rId15" Type="http://schemas.openxmlformats.org/officeDocument/2006/relationships/slideLayout" Target="../slideLayouts/slideLayout524.xml"/><Relationship Id="rId23" Type="http://schemas.openxmlformats.org/officeDocument/2006/relationships/theme" Target="../theme/theme42.xml"/><Relationship Id="rId10" Type="http://schemas.openxmlformats.org/officeDocument/2006/relationships/slideLayout" Target="../slideLayouts/slideLayout519.xml"/><Relationship Id="rId19" Type="http://schemas.openxmlformats.org/officeDocument/2006/relationships/slideLayout" Target="../slideLayouts/slideLayout528.xml"/><Relationship Id="rId4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8.xml"/><Relationship Id="rId14" Type="http://schemas.openxmlformats.org/officeDocument/2006/relationships/slideLayout" Target="../slideLayouts/slideLayout523.xml"/><Relationship Id="rId22" Type="http://schemas.openxmlformats.org/officeDocument/2006/relationships/slideLayout" Target="../slideLayouts/slideLayout53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2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8">
            <a:extLst>
              <a:ext uri="{FF2B5EF4-FFF2-40B4-BE49-F238E27FC236}">
                <a16:creationId xmlns:a16="http://schemas.microsoft.com/office/drawing/2014/main" id="{11BF24BE-C13C-4FDA-8239-0D6C40453CE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2051" name="Текст 29">
            <a:extLst>
              <a:ext uri="{FF2B5EF4-FFF2-40B4-BE49-F238E27FC236}">
                <a16:creationId xmlns:a16="http://schemas.microsoft.com/office/drawing/2014/main" id="{B82315BF-7DF1-4BE4-9312-E8A4E20219D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DCA1234F-79C8-4C17-9FCB-10F2FAE396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42AE7E85-79A2-427B-81F0-0C2810A19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16CC19ED-A8BC-463F-8A3C-D8931159D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045C7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DB767A8-20EA-43EA-84B3-A9E34FE5F4DA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9338" r:id="rId1"/>
    <p:sldLayoutId id="2147489339" r:id="rId2"/>
    <p:sldLayoutId id="2147489340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>
            <a:extLst>
              <a:ext uri="{FF2B5EF4-FFF2-40B4-BE49-F238E27FC236}">
                <a16:creationId xmlns:a16="http://schemas.microsoft.com/office/drawing/2014/main" id="{56EAEF01-A3DB-45D5-B2B2-0289B1BB26C0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1044" name="Rectangle 3">
              <a:extLst>
                <a:ext uri="{FF2B5EF4-FFF2-40B4-BE49-F238E27FC236}">
                  <a16:creationId xmlns:a16="http://schemas.microsoft.com/office/drawing/2014/main" id="{B4BF60BA-5B14-4210-B73C-701DC5CEF85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5" name="Rectangle 4">
              <a:extLst>
                <a:ext uri="{FF2B5EF4-FFF2-40B4-BE49-F238E27FC236}">
                  <a16:creationId xmlns:a16="http://schemas.microsoft.com/office/drawing/2014/main" id="{29AB9E29-7385-4EC3-BE42-F13C9EF11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>
                <a:latin typeface="Times New Roman" pitchFamily="18" charset="0"/>
              </a:endParaRPr>
            </a:p>
          </p:txBody>
        </p:sp>
      </p:grpSp>
      <p:grpSp>
        <p:nvGrpSpPr>
          <p:cNvPr id="1027" name="Group 5">
            <a:extLst>
              <a:ext uri="{FF2B5EF4-FFF2-40B4-BE49-F238E27FC236}">
                <a16:creationId xmlns:a16="http://schemas.microsoft.com/office/drawing/2014/main" id="{8D9860BE-5744-4372-89AF-DAB315A50B78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1042" name="Rectangle 6">
              <a:extLst>
                <a:ext uri="{FF2B5EF4-FFF2-40B4-BE49-F238E27FC236}">
                  <a16:creationId xmlns:a16="http://schemas.microsoft.com/office/drawing/2014/main" id="{8932FA57-E337-4A0E-8656-89AB4653A42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3" name="Rectangle 7">
              <a:extLst>
                <a:ext uri="{FF2B5EF4-FFF2-40B4-BE49-F238E27FC236}">
                  <a16:creationId xmlns:a16="http://schemas.microsoft.com/office/drawing/2014/main" id="{D47DC57C-9551-42CB-AFFB-957584B5B1B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28" name="Group 8">
            <a:extLst>
              <a:ext uri="{FF2B5EF4-FFF2-40B4-BE49-F238E27FC236}">
                <a16:creationId xmlns:a16="http://schemas.microsoft.com/office/drawing/2014/main" id="{90A87530-437B-4800-AF2F-2328259154CA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040" name="Rectangle 9">
              <a:extLst>
                <a:ext uri="{FF2B5EF4-FFF2-40B4-BE49-F238E27FC236}">
                  <a16:creationId xmlns:a16="http://schemas.microsoft.com/office/drawing/2014/main" id="{E994F3AD-34BC-4005-B741-FCB7D536AC2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1" name="Rectangle 10">
              <a:extLst>
                <a:ext uri="{FF2B5EF4-FFF2-40B4-BE49-F238E27FC236}">
                  <a16:creationId xmlns:a16="http://schemas.microsoft.com/office/drawing/2014/main" id="{5C7E18A2-8611-455B-8EC9-858E51816A3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29" name="Group 11">
            <a:extLst>
              <a:ext uri="{FF2B5EF4-FFF2-40B4-BE49-F238E27FC236}">
                <a16:creationId xmlns:a16="http://schemas.microsoft.com/office/drawing/2014/main" id="{9437B435-AF1E-4051-B2E2-440764992213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038" name="Rectangle 12">
              <a:extLst>
                <a:ext uri="{FF2B5EF4-FFF2-40B4-BE49-F238E27FC236}">
                  <a16:creationId xmlns:a16="http://schemas.microsoft.com/office/drawing/2014/main" id="{9C0CEC30-C974-4412-98F2-8A8404DBC8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39" name="Rectangle 13">
              <a:extLst>
                <a:ext uri="{FF2B5EF4-FFF2-40B4-BE49-F238E27FC236}">
                  <a16:creationId xmlns:a16="http://schemas.microsoft.com/office/drawing/2014/main" id="{677CD84D-613B-484C-BD9D-752D76ABDE8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30" name="Group 14">
            <a:extLst>
              <a:ext uri="{FF2B5EF4-FFF2-40B4-BE49-F238E27FC236}">
                <a16:creationId xmlns:a16="http://schemas.microsoft.com/office/drawing/2014/main" id="{BCDD9BCA-5A91-4311-8F89-7DE8DED4176A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1036" name="Rectangle 15">
              <a:extLst>
                <a:ext uri="{FF2B5EF4-FFF2-40B4-BE49-F238E27FC236}">
                  <a16:creationId xmlns:a16="http://schemas.microsoft.com/office/drawing/2014/main" id="{2BA6EB1B-D6DB-4FC1-B54D-192BBA48787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37" name="Rectangle 16">
              <a:extLst>
                <a:ext uri="{FF2B5EF4-FFF2-40B4-BE49-F238E27FC236}">
                  <a16:creationId xmlns:a16="http://schemas.microsoft.com/office/drawing/2014/main" id="{2A821E3A-5FD0-4B4C-961F-E82B00AF26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sp>
        <p:nvSpPr>
          <p:cNvPr id="1031" name="Rectangle 17">
            <a:extLst>
              <a:ext uri="{FF2B5EF4-FFF2-40B4-BE49-F238E27FC236}">
                <a16:creationId xmlns:a16="http://schemas.microsoft.com/office/drawing/2014/main" id="{266B1F13-1C21-4E72-8DAB-D59FE379774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2" name="Rectangle 18">
            <a:extLst>
              <a:ext uri="{FF2B5EF4-FFF2-40B4-BE49-F238E27FC236}">
                <a16:creationId xmlns:a16="http://schemas.microsoft.com/office/drawing/2014/main" id="{C7172B18-F2F0-4384-9E79-53A0CC74B08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DBC880F2-D237-4B30-AE04-CFB43E0C6AF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BCE3914E-00A1-4D78-A1AF-857400E9F8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9C39F030-4E37-4862-9B4C-E65939DC33E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4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A1F8D0A-21BD-40C7-9D87-7617CCECDF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5309965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2877" r:id="rId1"/>
    <p:sldLayoutId id="2147492878" r:id="rId2"/>
    <p:sldLayoutId id="2147492879" r:id="rId3"/>
    <p:sldLayoutId id="2147492880" r:id="rId4"/>
    <p:sldLayoutId id="2147492881" r:id="rId5"/>
    <p:sldLayoutId id="2147492882" r:id="rId6"/>
    <p:sldLayoutId id="2147492883" r:id="rId7"/>
    <p:sldLayoutId id="2147492884" r:id="rId8"/>
    <p:sldLayoutId id="2147492885" r:id="rId9"/>
    <p:sldLayoutId id="2147492886" r:id="rId10"/>
    <p:sldLayoutId id="2147492887" r:id="rId11"/>
    <p:sldLayoutId id="2147492888" r:id="rId12"/>
    <p:sldLayoutId id="2147492889" r:id="rId13"/>
    <p:sldLayoutId id="2147492890" r:id="rId14"/>
    <p:sldLayoutId id="2147492891" r:id="rId15"/>
    <p:sldLayoutId id="2147492892" r:id="rId16"/>
    <p:sldLayoutId id="2147492893" r:id="rId17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8"/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935165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20" name="Нижний колонтитул 5"/>
          <p:cNvSpPr>
            <a:spLocks noGrp="1"/>
          </p:cNvSpPr>
          <p:nvPr>
            <p:ph type="ftr" sz="quarter" idx="3"/>
          </p:nvPr>
        </p:nvSpPr>
        <p:spPr>
          <a:xfrm>
            <a:off x="2667000" y="6356352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21" name="Номер слайда 6"/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D3DEE8-B2FB-4332-AF74-16A3EE27511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426864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913" r:id="rId1"/>
    <p:sldLayoutId id="2147492914" r:id="rId2"/>
    <p:sldLayoutId id="2147492915" r:id="rId3"/>
    <p:sldLayoutId id="2147492916" r:id="rId4"/>
    <p:sldLayoutId id="2147492917" r:id="rId5"/>
    <p:sldLayoutId id="2147492918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75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9pPr>
    </p:titleStyle>
    <p:bodyStyle>
      <a:lvl1pPr marL="204788" indent="-204788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itchFamily="18" charset="2"/>
        <a:buChar char=""/>
        <a:defRPr sz="195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479822" indent="-18454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1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685800" indent="-18454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"/>
        <a:defRPr sz="1575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890588" indent="-157163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096566" indent="-157163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303020" indent="-157734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645920" indent="-137160" algn="l" rtl="0" eaLnBrk="1" latinLnBrk="0" hangingPunct="1">
        <a:spcBef>
          <a:spcPct val="20000"/>
        </a:spcBef>
        <a:buClr>
          <a:schemeClr val="tx2"/>
        </a:buClr>
        <a:buChar char="•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851660" indent="-13716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876F8C-E4DA-46FA-92E3-BFDA42381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A666CA5-4D8D-456E-98EE-C2B4BF8B7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08D6761-5BE1-48F9-9135-4FA845F75F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08E472-04A9-4FE7-A8FB-6EF393B11E81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4EE4CE-4872-413A-9517-E8871E3429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912329-C40E-4584-B0E1-706FA8ED4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6B7481-C6C3-481A-ACB0-898106C0D9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577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961" r:id="rId1"/>
    <p:sldLayoutId id="2147492962" r:id="rId2"/>
    <p:sldLayoutId id="2147492963" r:id="rId3"/>
    <p:sldLayoutId id="2147492964" r:id="rId4"/>
    <p:sldLayoutId id="2147492965" r:id="rId5"/>
    <p:sldLayoutId id="2147492966" r:id="rId6"/>
    <p:sldLayoutId id="2147492967" r:id="rId7"/>
    <p:sldLayoutId id="2147492968" r:id="rId8"/>
    <p:sldLayoutId id="2147492969" r:id="rId9"/>
    <p:sldLayoutId id="2147492970" r:id="rId10"/>
    <p:sldLayoutId id="2147492971" r:id="rId11"/>
    <p:sldLayoutId id="2147492972" r:id="rId12"/>
    <p:sldLayoutId id="2147492973" r:id="rId13"/>
    <p:sldLayoutId id="2147492974" r:id="rId14"/>
    <p:sldLayoutId id="2147492975" r:id="rId15"/>
    <p:sldLayoutId id="2147492976" r:id="rId16"/>
  </p:sldLayoutIdLst>
  <p:txStyles>
    <p:titleStyle>
      <a:lvl1pPr algn="l" defTabSz="385763" rtl="0" eaLnBrk="1" latinLnBrk="0" hangingPunct="1">
        <a:lnSpc>
          <a:spcPct val="90000"/>
        </a:lnSpc>
        <a:spcBef>
          <a:spcPct val="0"/>
        </a:spcBef>
        <a:buNone/>
        <a:defRPr sz="18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6441" indent="-96441" algn="l" defTabSz="385763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181" kern="1200">
          <a:solidFill>
            <a:schemeClr val="tx1"/>
          </a:solidFill>
          <a:latin typeface="+mn-lt"/>
          <a:ea typeface="+mn-ea"/>
          <a:cs typeface="+mn-cs"/>
        </a:defRPr>
      </a:lvl1pPr>
      <a:lvl2pPr marL="289322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482204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3pPr>
      <a:lvl4pPr marL="675085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867966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1060847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385763" rtl="0" eaLnBrk="1" latinLnBrk="0" hangingPunct="1">
        <a:lnSpc>
          <a:spcPct val="90000"/>
        </a:lnSpc>
        <a:spcBef>
          <a:spcPts val="211"/>
        </a:spcBef>
        <a:buFont typeface="Arial" panose="020B0604020202020204" pitchFamily="34" charset="0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5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5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362C8CE-ECAB-45E6-BE43-5570DDC5D1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0" y="0"/>
            <a:ext cx="9144000" cy="1125538"/>
          </a:xfrm>
          <a:prstGeom prst="rect">
            <a:avLst/>
          </a:prstGeom>
          <a:solidFill>
            <a:srgbClr val="00008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350">
              <a:solidFill>
                <a:srgbClr val="000000"/>
              </a:solidFill>
              <a:cs typeface="+mn-cs"/>
            </a:endParaRPr>
          </a:p>
        </p:txBody>
      </p:sp>
      <p:sp>
        <p:nvSpPr>
          <p:cNvPr id="5128" name="Line 8"/>
          <p:cNvSpPr>
            <a:spLocks noChangeShapeType="1"/>
          </p:cNvSpPr>
          <p:nvPr/>
        </p:nvSpPr>
        <p:spPr bwMode="auto">
          <a:xfrm>
            <a:off x="0" y="1125538"/>
            <a:ext cx="9144000" cy="0"/>
          </a:xfrm>
          <a:prstGeom prst="line">
            <a:avLst/>
          </a:prstGeom>
          <a:noFill/>
          <a:ln w="76200">
            <a:solidFill>
              <a:srgbClr val="00CC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092975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978" r:id="rId1"/>
    <p:sldLayoutId id="2147492979" r:id="rId2"/>
    <p:sldLayoutId id="2147492980" r:id="rId3"/>
    <p:sldLayoutId id="2147492981" r:id="rId4"/>
    <p:sldLayoutId id="2147492982" r:id="rId5"/>
    <p:sldLayoutId id="2147492983" r:id="rId6"/>
    <p:sldLayoutId id="2147492984" r:id="rId7"/>
    <p:sldLayoutId id="2147492985" r:id="rId8"/>
    <p:sldLayoutId id="2147492986" r:id="rId9"/>
    <p:sldLayoutId id="2147492987" r:id="rId10"/>
    <p:sldLayoutId id="2147492988" r:id="rId11"/>
    <p:sldLayoutId id="2147492989" r:id="rId12"/>
    <p:sldLayoutId id="2147492990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8">
            <a:extLst>
              <a:ext uri="{FF2B5EF4-FFF2-40B4-BE49-F238E27FC236}">
                <a16:creationId xmlns:a16="http://schemas.microsoft.com/office/drawing/2014/main" id="{9E873839-B3C5-4745-884E-CB680A4A7DF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8195" name="Текст 29">
            <a:extLst>
              <a:ext uri="{FF2B5EF4-FFF2-40B4-BE49-F238E27FC236}">
                <a16:creationId xmlns:a16="http://schemas.microsoft.com/office/drawing/2014/main" id="{70C0314D-5617-4D6E-AAAC-D1B80AE0E34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00E8F745-D4D4-4FFB-9AFB-C70B41B11B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057DBCAC-3204-433D-B254-EBE4E1F861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65984D4E-6395-4FF5-9924-7D00AADAC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045C75"/>
                </a:solidFill>
              </a:defRPr>
            </a:lvl1pPr>
          </a:lstStyle>
          <a:p>
            <a:pPr>
              <a:defRPr/>
            </a:pPr>
            <a:fld id="{E052F5BF-0037-4354-A245-867CE270D8A3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730755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992" r:id="rId1"/>
    <p:sldLayoutId id="2147492993" r:id="rId2"/>
    <p:sldLayoutId id="2147492994" r:id="rId3"/>
    <p:sldLayoutId id="2147492995" r:id="rId4"/>
    <p:sldLayoutId id="2147492996" r:id="rId5"/>
    <p:sldLayoutId id="2147492997" r:id="rId6"/>
    <p:sldLayoutId id="2147492998" r:id="rId7"/>
    <p:sldLayoutId id="2147492999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Group 2">
            <a:extLst>
              <a:ext uri="{FF2B5EF4-FFF2-40B4-BE49-F238E27FC236}">
                <a16:creationId xmlns:a16="http://schemas.microsoft.com/office/drawing/2014/main" id="{9C36C669-D9E9-449E-8551-5CF41E5F9A2F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20500" name="Rectangle 3">
              <a:extLst>
                <a:ext uri="{FF2B5EF4-FFF2-40B4-BE49-F238E27FC236}">
                  <a16:creationId xmlns:a16="http://schemas.microsoft.com/office/drawing/2014/main" id="{CD2F097E-D12F-4C2D-959A-0CD4F8CBFD1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20501" name="Rectangle 4">
              <a:extLst>
                <a:ext uri="{FF2B5EF4-FFF2-40B4-BE49-F238E27FC236}">
                  <a16:creationId xmlns:a16="http://schemas.microsoft.com/office/drawing/2014/main" id="{19F8C6FB-92EC-40CB-9652-A3B51C995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 algn="ctr">
                <a:defRPr/>
              </a:pPr>
              <a:endParaRPr lang="ru-RU" altLang="ru-RU">
                <a:latin typeface="Times New Roman" panose="02020603050405020304" pitchFamily="18" charset="0"/>
              </a:endParaRPr>
            </a:p>
          </p:txBody>
        </p:sp>
      </p:grpSp>
      <p:grpSp>
        <p:nvGrpSpPr>
          <p:cNvPr id="10243" name="Group 5">
            <a:extLst>
              <a:ext uri="{FF2B5EF4-FFF2-40B4-BE49-F238E27FC236}">
                <a16:creationId xmlns:a16="http://schemas.microsoft.com/office/drawing/2014/main" id="{11034435-C2F6-46DD-A314-89F9F4C1E5A3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20498" name="Rectangle 6">
              <a:extLst>
                <a:ext uri="{FF2B5EF4-FFF2-40B4-BE49-F238E27FC236}">
                  <a16:creationId xmlns:a16="http://schemas.microsoft.com/office/drawing/2014/main" id="{2C889FD6-336B-489C-B1AE-7612389482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20499" name="Rectangle 7">
              <a:extLst>
                <a:ext uri="{FF2B5EF4-FFF2-40B4-BE49-F238E27FC236}">
                  <a16:creationId xmlns:a16="http://schemas.microsoft.com/office/drawing/2014/main" id="{7747C7AD-5645-4C1A-AC37-B03C61C1F59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pSp>
        <p:nvGrpSpPr>
          <p:cNvPr id="10244" name="Group 8">
            <a:extLst>
              <a:ext uri="{FF2B5EF4-FFF2-40B4-BE49-F238E27FC236}">
                <a16:creationId xmlns:a16="http://schemas.microsoft.com/office/drawing/2014/main" id="{18AFBD2C-68F8-44B5-BA5E-F7D805081A98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20496" name="Rectangle 9">
              <a:extLst>
                <a:ext uri="{FF2B5EF4-FFF2-40B4-BE49-F238E27FC236}">
                  <a16:creationId xmlns:a16="http://schemas.microsoft.com/office/drawing/2014/main" id="{67C17FF4-ABC8-4555-ABC8-6B0781C5F22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20497" name="Rectangle 10">
              <a:extLst>
                <a:ext uri="{FF2B5EF4-FFF2-40B4-BE49-F238E27FC236}">
                  <a16:creationId xmlns:a16="http://schemas.microsoft.com/office/drawing/2014/main" id="{BEE32CAB-2C4A-4EFC-8A04-F3171EA5CDC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pSp>
        <p:nvGrpSpPr>
          <p:cNvPr id="10245" name="Group 11">
            <a:extLst>
              <a:ext uri="{FF2B5EF4-FFF2-40B4-BE49-F238E27FC236}">
                <a16:creationId xmlns:a16="http://schemas.microsoft.com/office/drawing/2014/main" id="{08B8A907-A556-4EC1-9740-24D8E12A9FF3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20494" name="Rectangle 12">
              <a:extLst>
                <a:ext uri="{FF2B5EF4-FFF2-40B4-BE49-F238E27FC236}">
                  <a16:creationId xmlns:a16="http://schemas.microsoft.com/office/drawing/2014/main" id="{049F8115-7C91-49D1-A1C6-CD5240A33F8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20495" name="Rectangle 13">
              <a:extLst>
                <a:ext uri="{FF2B5EF4-FFF2-40B4-BE49-F238E27FC236}">
                  <a16:creationId xmlns:a16="http://schemas.microsoft.com/office/drawing/2014/main" id="{C3D3E194-FDC4-4440-BC22-3C116D1B97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grpSp>
        <p:nvGrpSpPr>
          <p:cNvPr id="10246" name="Group 14">
            <a:extLst>
              <a:ext uri="{FF2B5EF4-FFF2-40B4-BE49-F238E27FC236}">
                <a16:creationId xmlns:a16="http://schemas.microsoft.com/office/drawing/2014/main" id="{6C58A154-32B5-48A7-A7DE-1E871EB82068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20492" name="Rectangle 15">
              <a:extLst>
                <a:ext uri="{FF2B5EF4-FFF2-40B4-BE49-F238E27FC236}">
                  <a16:creationId xmlns:a16="http://schemas.microsoft.com/office/drawing/2014/main" id="{A08A69CB-ADDA-40F5-8A18-75E031465BF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  <p:sp>
          <p:nvSpPr>
            <p:cNvPr id="20493" name="Rectangle 16">
              <a:extLst>
                <a:ext uri="{FF2B5EF4-FFF2-40B4-BE49-F238E27FC236}">
                  <a16:creationId xmlns:a16="http://schemas.microsoft.com/office/drawing/2014/main" id="{EDA17132-B51C-41F4-B6EE-43A06994FB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aramond" panose="02020404030301010803" pitchFamily="18" charset="0"/>
                </a:defRPr>
              </a:lvl9pPr>
            </a:lstStyle>
            <a:p>
              <a:pPr>
                <a:defRPr/>
              </a:pPr>
              <a:endParaRPr lang="ru-RU" altLang="ru-RU"/>
            </a:p>
          </p:txBody>
        </p:sp>
      </p:grpSp>
      <p:sp>
        <p:nvSpPr>
          <p:cNvPr id="10247" name="Rectangle 17">
            <a:extLst>
              <a:ext uri="{FF2B5EF4-FFF2-40B4-BE49-F238E27FC236}">
                <a16:creationId xmlns:a16="http://schemas.microsoft.com/office/drawing/2014/main" id="{D3A42028-B753-4370-9292-CE6EDE21DCB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8" tIns="45709" rIns="91418" bIns="4570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48" name="Rectangle 18">
            <a:extLst>
              <a:ext uri="{FF2B5EF4-FFF2-40B4-BE49-F238E27FC236}">
                <a16:creationId xmlns:a16="http://schemas.microsoft.com/office/drawing/2014/main" id="{12554506-28B4-4BA2-ABC5-47F15F47866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38A79C77-6787-4D5A-B005-82A192C0DA1A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8" tIns="45709" rIns="91418" bIns="45709" numCol="1" anchor="b" anchorCtr="0" compatLnSpc="1">
            <a:prstTxWarp prst="textNoShape">
              <a:avLst/>
            </a:prstTxWarp>
          </a:bodyPr>
          <a:lstStyle>
            <a:lvl1pPr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AD0DBF8F-4D15-42D5-8BE6-9014AC9EBC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8" tIns="45709" rIns="91418" bIns="45709" numCol="1" anchor="b" anchorCtr="0" compatLnSpc="1">
            <a:prstTxWarp prst="textNoShape">
              <a:avLst/>
            </a:prstTxWarp>
          </a:bodyPr>
          <a:lstStyle>
            <a:lvl1pPr algn="ct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45DAC091-297C-455A-89AD-3915E96172F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8" tIns="45709" rIns="91418" bIns="45709" numCol="1" anchor="b" anchorCtr="0" compatLnSpc="1">
            <a:prstTxWarp prst="textNoShape">
              <a:avLst/>
            </a:prstTxWarp>
          </a:bodyPr>
          <a:lstStyle>
            <a:lvl1pPr algn="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fld id="{D5F61E99-F979-45E6-B0FB-59F820D6EA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17036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3001" r:id="rId1"/>
    <p:sldLayoutId id="2147493002" r:id="rId2"/>
    <p:sldLayoutId id="2147493003" r:id="rId3"/>
    <p:sldLayoutId id="2147493004" r:id="rId4"/>
    <p:sldLayoutId id="2147493005" r:id="rId5"/>
    <p:sldLayoutId id="2147493006" r:id="rId6"/>
    <p:sldLayoutId id="2147493007" r:id="rId7"/>
    <p:sldLayoutId id="2147493008" r:id="rId8"/>
    <p:sldLayoutId id="2147493009" r:id="rId9"/>
    <p:sldLayoutId id="2147493010" r:id="rId10"/>
    <p:sldLayoutId id="2147493011" r:id="rId11"/>
    <p:sldLayoutId id="2147493012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089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177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265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353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3986" indent="-22854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074" indent="-22854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8163" indent="-22854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5252" indent="-22854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9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7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5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3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42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31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19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07" algn="l" defTabSz="914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>
            <a:extLst>
              <a:ext uri="{FF2B5EF4-FFF2-40B4-BE49-F238E27FC236}">
                <a16:creationId xmlns:a16="http://schemas.microsoft.com/office/drawing/2014/main" id="{56D3D3D4-6826-46B9-9758-2301A30878CB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1044" name="Rectangle 3">
              <a:extLst>
                <a:ext uri="{FF2B5EF4-FFF2-40B4-BE49-F238E27FC236}">
                  <a16:creationId xmlns:a16="http://schemas.microsoft.com/office/drawing/2014/main" id="{8D5AAA7F-37D7-4B2E-B88D-542193403909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5" name="Rectangle 4">
              <a:extLst>
                <a:ext uri="{FF2B5EF4-FFF2-40B4-BE49-F238E27FC236}">
                  <a16:creationId xmlns:a16="http://schemas.microsoft.com/office/drawing/2014/main" id="{00603055-8631-4C6E-9D1A-D445C6AC4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>
                <a:latin typeface="Times New Roman" pitchFamily="18" charset="0"/>
              </a:endParaRPr>
            </a:p>
          </p:txBody>
        </p:sp>
      </p:grpSp>
      <p:grpSp>
        <p:nvGrpSpPr>
          <p:cNvPr id="1027" name="Group 5">
            <a:extLst>
              <a:ext uri="{FF2B5EF4-FFF2-40B4-BE49-F238E27FC236}">
                <a16:creationId xmlns:a16="http://schemas.microsoft.com/office/drawing/2014/main" id="{05E8EAA3-8C9B-42F8-ACC6-7D0B615C606F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1042" name="Rectangle 6">
              <a:extLst>
                <a:ext uri="{FF2B5EF4-FFF2-40B4-BE49-F238E27FC236}">
                  <a16:creationId xmlns:a16="http://schemas.microsoft.com/office/drawing/2014/main" id="{4E79D194-D0DE-4586-8291-D54B48C5527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3" name="Rectangle 7">
              <a:extLst>
                <a:ext uri="{FF2B5EF4-FFF2-40B4-BE49-F238E27FC236}">
                  <a16:creationId xmlns:a16="http://schemas.microsoft.com/office/drawing/2014/main" id="{A8CB4FF2-3D5B-4C2C-9237-484F2FE9322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28" name="Group 8">
            <a:extLst>
              <a:ext uri="{FF2B5EF4-FFF2-40B4-BE49-F238E27FC236}">
                <a16:creationId xmlns:a16="http://schemas.microsoft.com/office/drawing/2014/main" id="{A4A74B67-EEB7-437A-A461-5AE6835A9CA1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040" name="Rectangle 9">
              <a:extLst>
                <a:ext uri="{FF2B5EF4-FFF2-40B4-BE49-F238E27FC236}">
                  <a16:creationId xmlns:a16="http://schemas.microsoft.com/office/drawing/2014/main" id="{CF864211-1F83-44B9-ACE5-323FDBFA6C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41" name="Rectangle 10">
              <a:extLst>
                <a:ext uri="{FF2B5EF4-FFF2-40B4-BE49-F238E27FC236}">
                  <a16:creationId xmlns:a16="http://schemas.microsoft.com/office/drawing/2014/main" id="{3A1257BE-570D-42DE-837C-2552EC9A9AC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29" name="Group 11">
            <a:extLst>
              <a:ext uri="{FF2B5EF4-FFF2-40B4-BE49-F238E27FC236}">
                <a16:creationId xmlns:a16="http://schemas.microsoft.com/office/drawing/2014/main" id="{F5B6BC4A-34AA-43CE-B76C-6597B70ECEBB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038" name="Rectangle 12">
              <a:extLst>
                <a:ext uri="{FF2B5EF4-FFF2-40B4-BE49-F238E27FC236}">
                  <a16:creationId xmlns:a16="http://schemas.microsoft.com/office/drawing/2014/main" id="{505BA30E-9EA9-4F36-A6E3-51D1A1C3FF3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39" name="Rectangle 13">
              <a:extLst>
                <a:ext uri="{FF2B5EF4-FFF2-40B4-BE49-F238E27FC236}">
                  <a16:creationId xmlns:a16="http://schemas.microsoft.com/office/drawing/2014/main" id="{430E7C93-23D2-41AC-BC88-6FD957BD911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grpSp>
        <p:nvGrpSpPr>
          <p:cNvPr id="1030" name="Group 14">
            <a:extLst>
              <a:ext uri="{FF2B5EF4-FFF2-40B4-BE49-F238E27FC236}">
                <a16:creationId xmlns:a16="http://schemas.microsoft.com/office/drawing/2014/main" id="{338BFD24-75B6-4BA7-8515-C1291888BA02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1036" name="Rectangle 15">
              <a:extLst>
                <a:ext uri="{FF2B5EF4-FFF2-40B4-BE49-F238E27FC236}">
                  <a16:creationId xmlns:a16="http://schemas.microsoft.com/office/drawing/2014/main" id="{7EF43D2B-995A-487F-8C8A-C3F40A1B74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  <p:sp>
          <p:nvSpPr>
            <p:cNvPr id="1037" name="Rectangle 16">
              <a:extLst>
                <a:ext uri="{FF2B5EF4-FFF2-40B4-BE49-F238E27FC236}">
                  <a16:creationId xmlns:a16="http://schemas.microsoft.com/office/drawing/2014/main" id="{98A87C69-9F7F-4E98-80E7-8C16BFB4F66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/>
            </a:p>
          </p:txBody>
        </p:sp>
      </p:grpSp>
      <p:sp>
        <p:nvSpPr>
          <p:cNvPr id="1031" name="Rectangle 17">
            <a:extLst>
              <a:ext uri="{FF2B5EF4-FFF2-40B4-BE49-F238E27FC236}">
                <a16:creationId xmlns:a16="http://schemas.microsoft.com/office/drawing/2014/main" id="{D356DEE6-67FD-40C6-94DB-6E163FE151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2" name="Rectangle 18">
            <a:extLst>
              <a:ext uri="{FF2B5EF4-FFF2-40B4-BE49-F238E27FC236}">
                <a16:creationId xmlns:a16="http://schemas.microsoft.com/office/drawing/2014/main" id="{4A876085-04E3-4CF0-B005-861C6919EE6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F1AC908C-A93E-4758-979B-50EBA1D1059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D1A991AB-7A92-49E6-88DB-5955299E998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BEEAFA0B-9677-4902-9568-4B0E9DEE232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400" smtClean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C24A8CD-CE02-4540-983B-EAB5FF629B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8561250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3014" r:id="rId1"/>
    <p:sldLayoutId id="2147493015" r:id="rId2"/>
    <p:sldLayoutId id="2147493016" r:id="rId3"/>
    <p:sldLayoutId id="2147493017" r:id="rId4"/>
    <p:sldLayoutId id="2147493018" r:id="rId5"/>
    <p:sldLayoutId id="2147493019" r:id="rId6"/>
    <p:sldLayoutId id="2147493020" r:id="rId7"/>
    <p:sldLayoutId id="2147493021" r:id="rId8"/>
    <p:sldLayoutId id="2147493022" r:id="rId9"/>
    <p:sldLayoutId id="2147493023" r:id="rId10"/>
    <p:sldLayoutId id="2147493024" r:id="rId11"/>
    <p:sldLayoutId id="2147493025" r:id="rId12"/>
    <p:sldLayoutId id="2147493026" r:id="rId13"/>
    <p:sldLayoutId id="2147493027" r:id="rId14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D29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8">
            <a:extLst>
              <a:ext uri="{FF2B5EF4-FFF2-40B4-BE49-F238E27FC236}">
                <a16:creationId xmlns:a16="http://schemas.microsoft.com/office/drawing/2014/main" id="{8FECCECA-40DE-4645-A4C4-57EF1451DCA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24" name="Дата 23">
            <a:extLst>
              <a:ext uri="{FF2B5EF4-FFF2-40B4-BE49-F238E27FC236}">
                <a16:creationId xmlns:a16="http://schemas.microsoft.com/office/drawing/2014/main" id="{25823F18-9E3F-4E91-8244-D570DDE382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91200" y="6203950"/>
            <a:ext cx="2590800" cy="38417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 b="1">
                <a:solidFill>
                  <a:srgbClr val="FEFAC9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4539173D-C5D0-482F-9225-1863A1E2DC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3600" y="6203950"/>
            <a:ext cx="3581400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 b="1">
                <a:solidFill>
                  <a:srgbClr val="FEFAC9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65272A8F-D85A-4BC1-BC4F-DE05682453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0575" y="6181725"/>
            <a:ext cx="609600" cy="457200"/>
          </a:xfrm>
          <a:prstGeom prst="rect">
            <a:avLst/>
          </a:prstGeom>
          <a:noFill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eaLnBrk="1" hangingPunct="1">
              <a:defRPr kumimoji="0" sz="1600" b="1">
                <a:solidFill>
                  <a:srgbClr val="FEFAC9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5073BAA-72FF-46FC-8C5E-7B6D701D88B8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9A35CF6-9E94-496D-BFE2-8451E2671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19200"/>
          </a:xfrm>
          <a:prstGeom prst="rect">
            <a:avLst/>
          </a:prstGeom>
          <a:ln w="6350" cap="rnd">
            <a:noFill/>
          </a:ln>
        </p:spPr>
        <p:txBody>
          <a:bodyPr vert="horz" anchor="b" anchorCtr="0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7936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029" r:id="rId1"/>
    <p:sldLayoutId id="2147493030" r:id="rId2"/>
    <p:sldLayoutId id="2147493031" r:id="rId3"/>
    <p:sldLayoutId id="2147493032" r:id="rId4"/>
    <p:sldLayoutId id="2147493033" r:id="rId5"/>
    <p:sldLayoutId id="2147493034" r:id="rId6"/>
    <p:sldLayoutId id="2147493035" r:id="rId7"/>
    <p:sldLayoutId id="2147493036" r:id="rId8"/>
    <p:sldLayoutId id="2147493037" r:id="rId9"/>
    <p:sldLayoutId id="2147493038" r:id="rId10"/>
    <p:sldLayoutId id="2147493039" r:id="rId11"/>
    <p:sldLayoutId id="2147493040" r:id="rId12"/>
    <p:sldLayoutId id="2147493041" r:id="rId13"/>
    <p:sldLayoutId id="2147493042" r:id="rId14"/>
    <p:sldLayoutId id="2147493043" r:id="rId15"/>
    <p:sldLayoutId id="2147493044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200" kern="1200" spc="-10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8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04888" indent="-228600" algn="l" rtl="0" eaLnBrk="0" fontAlgn="base" hangingPunct="0">
        <a:spcBef>
          <a:spcPts val="300"/>
        </a:spcBef>
        <a:spcAft>
          <a:spcPct val="0"/>
        </a:spcAft>
        <a:buClr>
          <a:srgbClr val="B37732"/>
        </a:buClr>
        <a:buSzPct val="85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ts val="338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8">
            <a:extLst>
              <a:ext uri="{FF2B5EF4-FFF2-40B4-BE49-F238E27FC236}">
                <a16:creationId xmlns:a16="http://schemas.microsoft.com/office/drawing/2014/main" id="{65FB3CBC-633F-401C-84FB-14A37804822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4099" name="Текст 29">
            <a:extLst>
              <a:ext uri="{FF2B5EF4-FFF2-40B4-BE49-F238E27FC236}">
                <a16:creationId xmlns:a16="http://schemas.microsoft.com/office/drawing/2014/main" id="{0FD62259-A283-40B1-97C8-5A214FBDF77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9633FFA1-E6B5-4163-BB7B-CED2C1F13F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4D245C06-2DE5-4D5C-A90B-76C9A273DB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7C013511-C6DB-48BD-B020-DA3650881E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fld id="{9B1BC7BB-1E73-4E4F-A11F-69608EC809DB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2964400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046" r:id="rId1"/>
    <p:sldLayoutId id="2147493047" r:id="rId2"/>
    <p:sldLayoutId id="2147493048" r:id="rId3"/>
    <p:sldLayoutId id="2147493049" r:id="rId4"/>
    <p:sldLayoutId id="2147493050" r:id="rId5"/>
    <p:sldLayoutId id="2147493051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2836745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304A29-6BBF-4126-BFE1-939C224ED19E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0" y="1750485"/>
            <a:ext cx="8509000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0" y="687918"/>
            <a:ext cx="8509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0425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053" r:id="rId1"/>
    <p:sldLayoutId id="2147493054" r:id="rId2"/>
    <p:sldLayoutId id="2147493055" r:id="rId3"/>
    <p:sldLayoutId id="2147493056" r:id="rId4"/>
    <p:sldLayoutId id="2147493057" r:id="rId5"/>
    <p:sldLayoutId id="2147493058" r:id="rId6"/>
    <p:sldLayoutId id="2147493059" r:id="rId7"/>
    <p:sldLayoutId id="2147493060" r:id="rId8"/>
    <p:sldLayoutId id="2147493061" r:id="rId9"/>
    <p:sldLayoutId id="2147493062" r:id="rId10"/>
    <p:sldLayoutId id="2147493063" r:id="rId11"/>
    <p:sldLayoutId id="2147493064" r:id="rId12"/>
    <p:sldLayoutId id="2147493065" r:id="rId13"/>
    <p:sldLayoutId id="2147493066" r:id="rId14"/>
    <p:sldLayoutId id="2147493067" r:id="rId15"/>
    <p:sldLayoutId id="2147493068" r:id="rId16"/>
    <p:sldLayoutId id="2147493069" r:id="rId17"/>
    <p:sldLayoutId id="2147493070" r:id="rId18"/>
    <p:sldLayoutId id="2147493071" r:id="rId19"/>
    <p:sldLayoutId id="2147493072" r:id="rId20"/>
    <p:sldLayoutId id="2147493073" r:id="rId21"/>
    <p:sldLayoutId id="2147493074" r:id="rId22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113" indent="-26511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05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52">
          <p15:clr>
            <a:srgbClr val="000000"/>
          </p15:clr>
        </p15:guide>
        <p15:guide id="2" orient="horz" pos="755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 2">
            <a:extLst>
              <a:ext uri="{FF2B5EF4-FFF2-40B4-BE49-F238E27FC236}">
                <a16:creationId xmlns:a16="http://schemas.microsoft.com/office/drawing/2014/main" id="{096B5D31-AE28-44C1-9645-FB38E96D357F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2068" name="Rectangle 3">
              <a:extLst>
                <a:ext uri="{FF2B5EF4-FFF2-40B4-BE49-F238E27FC236}">
                  <a16:creationId xmlns:a16="http://schemas.microsoft.com/office/drawing/2014/main" id="{2CBA180C-797B-46B6-B8AE-C69A5DF1991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2069" name="Rectangle 4">
              <a:extLst>
                <a:ext uri="{FF2B5EF4-FFF2-40B4-BE49-F238E27FC236}">
                  <a16:creationId xmlns:a16="http://schemas.microsoft.com/office/drawing/2014/main" id="{9723411D-E4FF-48B3-AFA7-0AAAAB2B6A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 sz="2400">
                <a:solidFill>
                  <a:srgbClr val="F8F8F8"/>
                </a:solidFill>
                <a:latin typeface="Times New Roman" pitchFamily="18" charset="0"/>
              </a:endParaRPr>
            </a:p>
          </p:txBody>
        </p:sp>
      </p:grpSp>
      <p:grpSp>
        <p:nvGrpSpPr>
          <p:cNvPr id="14339" name="Group 5">
            <a:extLst>
              <a:ext uri="{FF2B5EF4-FFF2-40B4-BE49-F238E27FC236}">
                <a16:creationId xmlns:a16="http://schemas.microsoft.com/office/drawing/2014/main" id="{0506FFD2-7F29-4DDA-B736-E935A2E9040E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2066" name="Rectangle 6">
              <a:extLst>
                <a:ext uri="{FF2B5EF4-FFF2-40B4-BE49-F238E27FC236}">
                  <a16:creationId xmlns:a16="http://schemas.microsoft.com/office/drawing/2014/main" id="{BA0151C9-E64C-40FB-8FCC-0ACB3F4F871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2067" name="Rectangle 7">
              <a:extLst>
                <a:ext uri="{FF2B5EF4-FFF2-40B4-BE49-F238E27FC236}">
                  <a16:creationId xmlns:a16="http://schemas.microsoft.com/office/drawing/2014/main" id="{B250071F-B1A3-45BC-90E8-12EABA1399D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pSp>
        <p:nvGrpSpPr>
          <p:cNvPr id="14340" name="Group 8">
            <a:extLst>
              <a:ext uri="{FF2B5EF4-FFF2-40B4-BE49-F238E27FC236}">
                <a16:creationId xmlns:a16="http://schemas.microsoft.com/office/drawing/2014/main" id="{1FE3CFAB-D8C7-4B41-B57B-676D60CCDAA6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2064" name="Rectangle 9">
              <a:extLst>
                <a:ext uri="{FF2B5EF4-FFF2-40B4-BE49-F238E27FC236}">
                  <a16:creationId xmlns:a16="http://schemas.microsoft.com/office/drawing/2014/main" id="{EBE8FCF1-21F4-4478-A04B-217EADF288C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2065" name="Rectangle 10">
              <a:extLst>
                <a:ext uri="{FF2B5EF4-FFF2-40B4-BE49-F238E27FC236}">
                  <a16:creationId xmlns:a16="http://schemas.microsoft.com/office/drawing/2014/main" id="{EA573DD8-3DAB-418F-B16F-8D89913C51C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pSp>
        <p:nvGrpSpPr>
          <p:cNvPr id="14341" name="Group 11">
            <a:extLst>
              <a:ext uri="{FF2B5EF4-FFF2-40B4-BE49-F238E27FC236}">
                <a16:creationId xmlns:a16="http://schemas.microsoft.com/office/drawing/2014/main" id="{4CEC0640-A17C-40AB-BC57-96CF837605DC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2062" name="Rectangle 12">
              <a:extLst>
                <a:ext uri="{FF2B5EF4-FFF2-40B4-BE49-F238E27FC236}">
                  <a16:creationId xmlns:a16="http://schemas.microsoft.com/office/drawing/2014/main" id="{F832F837-EC7E-42E5-9E81-34A1B04042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2063" name="Rectangle 13">
              <a:extLst>
                <a:ext uri="{FF2B5EF4-FFF2-40B4-BE49-F238E27FC236}">
                  <a16:creationId xmlns:a16="http://schemas.microsoft.com/office/drawing/2014/main" id="{4DA04FD0-683E-48A6-9F7B-2032692D89B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grpSp>
        <p:nvGrpSpPr>
          <p:cNvPr id="14342" name="Group 14">
            <a:extLst>
              <a:ext uri="{FF2B5EF4-FFF2-40B4-BE49-F238E27FC236}">
                <a16:creationId xmlns:a16="http://schemas.microsoft.com/office/drawing/2014/main" id="{B250BA95-CB55-4496-8D78-9E84AE6435A1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2060" name="Rectangle 15">
              <a:extLst>
                <a:ext uri="{FF2B5EF4-FFF2-40B4-BE49-F238E27FC236}">
                  <a16:creationId xmlns:a16="http://schemas.microsoft.com/office/drawing/2014/main" id="{62AAFC37-DAB0-4AB6-98D2-65858867FD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  <p:sp>
          <p:nvSpPr>
            <p:cNvPr id="2061" name="Rectangle 16">
              <a:extLst>
                <a:ext uri="{FF2B5EF4-FFF2-40B4-BE49-F238E27FC236}">
                  <a16:creationId xmlns:a16="http://schemas.microsoft.com/office/drawing/2014/main" id="{2ABD4CEA-71CD-4EE4-A407-C424970F42D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kumimoji="1" sz="28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8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2400">
                <a:solidFill>
                  <a:srgbClr val="F8F8F8"/>
                </a:solidFill>
              </a:endParaRPr>
            </a:p>
          </p:txBody>
        </p:sp>
      </p:grpSp>
      <p:sp>
        <p:nvSpPr>
          <p:cNvPr id="14343" name="Rectangle 17">
            <a:extLst>
              <a:ext uri="{FF2B5EF4-FFF2-40B4-BE49-F238E27FC236}">
                <a16:creationId xmlns:a16="http://schemas.microsoft.com/office/drawing/2014/main" id="{6C2818F4-997B-48AF-92DE-FB680EA317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4344" name="Rectangle 18">
            <a:extLst>
              <a:ext uri="{FF2B5EF4-FFF2-40B4-BE49-F238E27FC236}">
                <a16:creationId xmlns:a16="http://schemas.microsoft.com/office/drawing/2014/main" id="{03857054-486F-466C-B363-316D629FD7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125A9D64-7038-4E5B-B33F-A7AB1E2D00F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400">
                <a:solidFill>
                  <a:srgbClr val="F8F8F8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A4E18D69-553E-41CE-A241-FCF84A0874C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400">
                <a:solidFill>
                  <a:srgbClr val="F8F8F8"/>
                </a:solidFill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DE3EAFB3-8343-4F68-A52D-13839CA5C7E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400">
                <a:solidFill>
                  <a:srgbClr val="F8F8F8"/>
                </a:solidFill>
                <a:latin typeface="Times New Roman" charset="0"/>
              </a:defRPr>
            </a:lvl1pPr>
          </a:lstStyle>
          <a:p>
            <a:pPr>
              <a:defRPr/>
            </a:pPr>
            <a:fld id="{22336114-1E20-444C-A57F-C659475A9C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9435" r:id="rId1"/>
    <p:sldLayoutId id="2147489290" r:id="rId2"/>
    <p:sldLayoutId id="2147489291" r:id="rId3"/>
    <p:sldLayoutId id="2147489292" r:id="rId4"/>
    <p:sldLayoutId id="2147489293" r:id="rId5"/>
    <p:sldLayoutId id="2147489294" r:id="rId6"/>
    <p:sldLayoutId id="2147489295" r:id="rId7"/>
    <p:sldLayoutId id="2147489296" r:id="rId8"/>
    <p:sldLayoutId id="2147489297" r:id="rId9"/>
    <p:sldLayoutId id="2147489298" r:id="rId10"/>
    <p:sldLayoutId id="2147489299" r:id="rId11"/>
    <p:sldLayoutId id="2147489436" r:id="rId12"/>
    <p:sldLayoutId id="2147489437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8">
            <a:extLst>
              <a:ext uri="{FF2B5EF4-FFF2-40B4-BE49-F238E27FC236}">
                <a16:creationId xmlns:a16="http://schemas.microsoft.com/office/drawing/2014/main" id="{7D238220-70CF-4280-A07D-64B1117E329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2291" name="Текст 29">
            <a:extLst>
              <a:ext uri="{FF2B5EF4-FFF2-40B4-BE49-F238E27FC236}">
                <a16:creationId xmlns:a16="http://schemas.microsoft.com/office/drawing/2014/main" id="{DE30662C-FDB3-4A43-B5FA-59FE62E0494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333261E6-E241-4297-AADA-540347AC8A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eaLnBrk="1" hangingPunct="1">
              <a:defRPr kumimoji="0" sz="1200">
                <a:solidFill>
                  <a:srgbClr val="DBF5F9">
                    <a:shade val="90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8CFD027D-D7B2-44F5-B86B-9B5CD09F4C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eaLnBrk="1" hangingPunct="1">
              <a:defRPr kumimoji="0" sz="1200">
                <a:solidFill>
                  <a:srgbClr val="DBF5F9">
                    <a:shade val="90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3A75001B-28DF-4C11-A165-7D97F0E5D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D1EAEE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8B76E34-A024-465A-8B32-727AFC090C09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11835387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076" r:id="rId1"/>
    <p:sldLayoutId id="2147493077" r:id="rId2"/>
    <p:sldLayoutId id="2147493078" r:id="rId3"/>
    <p:sldLayoutId id="2147493079" r:id="rId4"/>
    <p:sldLayoutId id="2147493080" r:id="rId5"/>
    <p:sldLayoutId id="2147493081" r:id="rId6"/>
    <p:sldLayoutId id="2147493082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Текст 8">
            <a:extLst>
              <a:ext uri="{FF2B5EF4-FFF2-40B4-BE49-F238E27FC236}">
                <a16:creationId xmlns:a16="http://schemas.microsoft.com/office/drawing/2014/main" id="{3C2B9886-D872-4A4D-B0DD-8F6505B8083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24" name="Дата 23">
            <a:extLst>
              <a:ext uri="{FF2B5EF4-FFF2-40B4-BE49-F238E27FC236}">
                <a16:creationId xmlns:a16="http://schemas.microsoft.com/office/drawing/2014/main" id="{174AE684-1D93-47CC-BF50-29D06C56F5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91200" y="6203950"/>
            <a:ext cx="2590800" cy="38417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 b="1">
                <a:solidFill>
                  <a:srgbClr val="FEFAC9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6260301C-459F-47B0-9960-75FCC312F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3600" y="6203950"/>
            <a:ext cx="3581400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 b="1">
                <a:solidFill>
                  <a:srgbClr val="FEFAC9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F833B66B-B86D-4A4F-AB01-982568912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10575" y="6181725"/>
            <a:ext cx="609600" cy="457200"/>
          </a:xfrm>
          <a:prstGeom prst="rect">
            <a:avLst/>
          </a:prstGeom>
          <a:noFill/>
        </p:spPr>
        <p:txBody>
          <a:bodyPr vert="horz" lIns="0" tIns="0" rIns="0" bIns="0" anchor="ctr" anchorCtr="0">
            <a:noAutofit/>
          </a:bodyPr>
          <a:lstStyle>
            <a:lvl1pPr algn="ctr" eaLnBrk="1" latinLnBrk="0" hangingPunct="1">
              <a:defRPr kumimoji="0" sz="1600" b="1" baseline="0">
                <a:solidFill>
                  <a:srgbClr val="FEFAC9"/>
                </a:solidFill>
              </a:defRPr>
            </a:lvl1pPr>
          </a:lstStyle>
          <a:p>
            <a:pPr>
              <a:defRPr/>
            </a:pPr>
            <a:fld id="{A32C397B-8AD8-4C5E-9E87-6D7E542CAC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0D94789F-004C-4282-81ED-9E56962B5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19200"/>
          </a:xfrm>
          <a:prstGeom prst="rect">
            <a:avLst/>
          </a:prstGeom>
          <a:ln w="6350" cap="rnd">
            <a:noFill/>
          </a:ln>
        </p:spPr>
        <p:txBody>
          <a:bodyPr vert="horz" anchor="b" anchorCtr="0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4421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084" r:id="rId1"/>
    <p:sldLayoutId id="2147493085" r:id="rId2"/>
    <p:sldLayoutId id="2147493086" r:id="rId3"/>
    <p:sldLayoutId id="2147493087" r:id="rId4"/>
    <p:sldLayoutId id="2147493088" r:id="rId5"/>
    <p:sldLayoutId id="2147493089" r:id="rId6"/>
    <p:sldLayoutId id="2147493090" r:id="rId7"/>
    <p:sldLayoutId id="2147493091" r:id="rId8"/>
    <p:sldLayoutId id="2147493092" r:id="rId9"/>
    <p:sldLayoutId id="2147493093" r:id="rId10"/>
    <p:sldLayoutId id="2147493094" r:id="rId11"/>
    <p:sldLayoutId id="2147493095" r:id="rId12"/>
    <p:sldLayoutId id="2147493096" r:id="rId13"/>
    <p:sldLayoutId id="2147493097" r:id="rId14"/>
    <p:sldLayoutId id="2147493098" r:id="rId15"/>
    <p:sldLayoutId id="2147493099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200" kern="1200" spc="-10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Arial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8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04888" indent="-228600" algn="l" rtl="0" eaLnBrk="0" fontAlgn="base" hangingPunct="0">
        <a:spcBef>
          <a:spcPts val="300"/>
        </a:spcBef>
        <a:spcAft>
          <a:spcPct val="0"/>
        </a:spcAft>
        <a:buClr>
          <a:srgbClr val="B37732"/>
        </a:buClr>
        <a:buSzPct val="85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ts val="338"/>
        </a:spcBef>
        <a:spcAft>
          <a:spcPct val="0"/>
        </a:spcAft>
        <a:buClr>
          <a:srgbClr val="D6903D"/>
        </a:buClr>
        <a:buSzPct val="85000"/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>
            <a:alpha val="67842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>
            <a:extLst>
              <a:ext uri="{FF2B5EF4-FFF2-40B4-BE49-F238E27FC236}">
                <a16:creationId xmlns:a16="http://schemas.microsoft.com/office/drawing/2014/main" id="{A1B96FAE-01C8-494C-8226-6F0E550CE8B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  <a:endParaRPr lang="ru-RU" altLang="ru-RU"/>
          </a:p>
        </p:txBody>
      </p:sp>
      <p:sp>
        <p:nvSpPr>
          <p:cNvPr id="9219" name="Text Placeholder 2">
            <a:extLst>
              <a:ext uri="{FF2B5EF4-FFF2-40B4-BE49-F238E27FC236}">
                <a16:creationId xmlns:a16="http://schemas.microsoft.com/office/drawing/2014/main" id="{4F2998DF-E18A-4E98-BD37-7931621FE78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  <a:endParaRPr lang="ru-RU" alt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499717-A753-4CB2-B2EF-F690A39557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3AB731D-2D3A-416A-9CB9-C7995DF67749}" type="datetimeFigureOut">
              <a:rPr lang="en-US"/>
              <a:pPr>
                <a:defRPr/>
              </a:pPr>
              <a:t>11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97C5B1-2DD0-43E6-BCC5-E542C6F8A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DB82C-BF5E-4C73-AB3A-B540F0C4A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7AA471E-1356-42BD-81DC-1FD94F8EA8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52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01" r:id="rId1"/>
    <p:sldLayoutId id="2147493102" r:id="rId2"/>
    <p:sldLayoutId id="2147493103" r:id="rId3"/>
    <p:sldLayoutId id="2147493104" r:id="rId4"/>
    <p:sldLayoutId id="2147493105" r:id="rId5"/>
    <p:sldLayoutId id="2147493106" r:id="rId6"/>
    <p:sldLayoutId id="2147493107" r:id="rId7"/>
    <p:sldLayoutId id="2147493108" r:id="rId8"/>
    <p:sldLayoutId id="2147493109" r:id="rId9"/>
    <p:sldLayoutId id="2147493110" r:id="rId10"/>
    <p:sldLayoutId id="2147493111" r:id="rId11"/>
    <p:sldLayoutId id="2147493112" r:id="rId12"/>
    <p:sldLayoutId id="2147493113" r:id="rId13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>
            <a:extLst>
              <a:ext uri="{FF2B5EF4-FFF2-40B4-BE49-F238E27FC236}">
                <a16:creationId xmlns:a16="http://schemas.microsoft.com/office/drawing/2014/main" id="{30B73978-02EF-41F7-916C-0507525F7F8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483" name="Текст 2">
            <a:extLst>
              <a:ext uri="{FF2B5EF4-FFF2-40B4-BE49-F238E27FC236}">
                <a16:creationId xmlns:a16="http://schemas.microsoft.com/office/drawing/2014/main" id="{2EE437AC-63E6-4B77-9E7D-8F1C292B79E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94EEA3-795D-418C-B9BA-11266F865C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A059B2DD-7E5E-438A-A2B7-5EC27D6AB77F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A410263-F77C-4DA1-8555-760A2411C2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4A34F0-B1F2-4B12-95AB-B1A49D72F3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67450BAF-B6C0-422A-B442-3CE9EBD8F0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7733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15" r:id="rId1"/>
    <p:sldLayoutId id="2147493116" r:id="rId2"/>
    <p:sldLayoutId id="2147493117" r:id="rId3"/>
    <p:sldLayoutId id="2147493118" r:id="rId4"/>
    <p:sldLayoutId id="2147493119" r:id="rId5"/>
    <p:sldLayoutId id="2147493120" r:id="rId6"/>
    <p:sldLayoutId id="2147493121" r:id="rId7"/>
    <p:sldLayoutId id="2147493122" r:id="rId8"/>
    <p:sldLayoutId id="2147493123" r:id="rId9"/>
    <p:sldLayoutId id="2147493124" r:id="rId10"/>
    <p:sldLayoutId id="2147493125" r:id="rId11"/>
    <p:sldLayoutId id="214749312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87C566-4E2F-4263-BCC2-CB0FCF942EEB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3CFF48-BD08-4C31-AB5B-D53BC56A2A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11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28" r:id="rId1"/>
    <p:sldLayoutId id="2147493129" r:id="rId2"/>
    <p:sldLayoutId id="2147493130" r:id="rId3"/>
    <p:sldLayoutId id="2147493131" r:id="rId4"/>
    <p:sldLayoutId id="2147493132" r:id="rId5"/>
    <p:sldLayoutId id="2147493133" r:id="rId6"/>
    <p:sldLayoutId id="2147493134" r:id="rId7"/>
    <p:sldLayoutId id="2147493135" r:id="rId8"/>
    <p:sldLayoutId id="2147493136" r:id="rId9"/>
    <p:sldLayoutId id="2147493137" r:id="rId10"/>
    <p:sldLayoutId id="21474931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>
            <a:extLst>
              <a:ext uri="{FF2B5EF4-FFF2-40B4-BE49-F238E27FC236}">
                <a16:creationId xmlns:a16="http://schemas.microsoft.com/office/drawing/2014/main" id="{D343A2DA-51CF-49D1-B6A1-5A253D4978C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5363" name="Текст 2">
            <a:extLst>
              <a:ext uri="{FF2B5EF4-FFF2-40B4-BE49-F238E27FC236}">
                <a16:creationId xmlns:a16="http://schemas.microsoft.com/office/drawing/2014/main" id="{A82C9F62-678B-4B1D-A2B2-6227624EF66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49150C6-AB91-4DFC-84F9-941497E8C7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C2B0A10C-8594-46F7-B3A0-1B7EEC0B0919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FAFB743-8D88-494F-BC73-23F0C4B59A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9064381-57EC-4B94-8657-1D02D50351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7212CB04-8373-4105-9233-D749A71175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1279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40" r:id="rId1"/>
    <p:sldLayoutId id="2147493141" r:id="rId2"/>
    <p:sldLayoutId id="2147493142" r:id="rId3"/>
    <p:sldLayoutId id="2147493143" r:id="rId4"/>
    <p:sldLayoutId id="2147493144" r:id="rId5"/>
    <p:sldLayoutId id="2147493145" r:id="rId6"/>
    <p:sldLayoutId id="2147493146" r:id="rId7"/>
    <p:sldLayoutId id="2147493147" r:id="rId8"/>
    <p:sldLayoutId id="2147493148" r:id="rId9"/>
    <p:sldLayoutId id="2147493149" r:id="rId10"/>
    <p:sldLayoutId id="2147493150" r:id="rId11"/>
    <p:sldLayoutId id="214749315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8">
            <a:extLst>
              <a:ext uri="{FF2B5EF4-FFF2-40B4-BE49-F238E27FC236}">
                <a16:creationId xmlns:a16="http://schemas.microsoft.com/office/drawing/2014/main" id="{12B6C4FE-14E2-4625-BAF7-01B67F75FDF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Текст 29">
            <a:extLst>
              <a:ext uri="{FF2B5EF4-FFF2-40B4-BE49-F238E27FC236}">
                <a16:creationId xmlns:a16="http://schemas.microsoft.com/office/drawing/2014/main" id="{B05E51B2-3BA2-40D3-83E4-5CF7FA9D0DD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68DEB6E7-9E58-4B67-9D9C-12A82017A7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BF99C09E-0CB9-4FA1-9FD6-D8032DA137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24FF83BC-46FB-43B6-A163-7A165B4987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045C7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8D64707-1005-45AF-9E36-F5729A0C4F4B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26613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53" r:id="rId1"/>
    <p:sldLayoutId id="2147493154" r:id="rId2"/>
    <p:sldLayoutId id="2147493155" r:id="rId3"/>
    <p:sldLayoutId id="2147493156" r:id="rId4"/>
    <p:sldLayoutId id="2147493157" r:id="rId5"/>
    <p:sldLayoutId id="2147493158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8">
            <a:extLst>
              <a:ext uri="{FF2B5EF4-FFF2-40B4-BE49-F238E27FC236}">
                <a16:creationId xmlns:a16="http://schemas.microsoft.com/office/drawing/2014/main" id="{BAF12398-5386-4575-9DF8-5D7F73B519D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31747" name="Текст 29">
            <a:extLst>
              <a:ext uri="{FF2B5EF4-FFF2-40B4-BE49-F238E27FC236}">
                <a16:creationId xmlns:a16="http://schemas.microsoft.com/office/drawing/2014/main" id="{3BD141BC-6F11-48FA-8547-F2FC6085DA5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6BB27F28-1344-46BC-AF43-DB4DF09E4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84373F68-0EDF-4452-9F5C-AE89C20D5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D45D2F56-2D62-40F9-AE74-C16C1142F8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045C75"/>
                </a:solidFill>
              </a:defRPr>
            </a:lvl1pPr>
          </a:lstStyle>
          <a:p>
            <a:pPr>
              <a:defRPr/>
            </a:pPr>
            <a:fld id="{FE921311-6559-47BC-B78C-A7EBACA7CC70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221341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60" r:id="rId1"/>
    <p:sldLayoutId id="2147493161" r:id="rId2"/>
    <p:sldLayoutId id="2147493162" r:id="rId3"/>
    <p:sldLayoutId id="2147493163" r:id="rId4"/>
    <p:sldLayoutId id="2147493164" r:id="rId5"/>
    <p:sldLayoutId id="2147493165" r:id="rId6"/>
    <p:sldLayoutId id="2147493166" r:id="rId7"/>
    <p:sldLayoutId id="2147493167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8">
            <a:extLst>
              <a:ext uri="{FF2B5EF4-FFF2-40B4-BE49-F238E27FC236}">
                <a16:creationId xmlns:a16="http://schemas.microsoft.com/office/drawing/2014/main" id="{7C872D16-379E-4869-842B-8FB9277067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23555" name="Текст 29">
            <a:extLst>
              <a:ext uri="{FF2B5EF4-FFF2-40B4-BE49-F238E27FC236}">
                <a16:creationId xmlns:a16="http://schemas.microsoft.com/office/drawing/2014/main" id="{92070D20-3920-402C-904F-970C531FC3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0C24604C-7780-419E-A545-1B828AE75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A3F4E961-749B-4569-9442-B607E4ABC7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86C3FD01-901D-4AA9-874C-99391B627F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045C7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4A8F6D4-60A8-49E8-A535-F4B80BE74369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595542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85" r:id="rId1"/>
    <p:sldLayoutId id="2147493186" r:id="rId2"/>
    <p:sldLayoutId id="2147493187" r:id="rId3"/>
    <p:sldLayoutId id="2147493188" r:id="rId4"/>
    <p:sldLayoutId id="2147493189" r:id="rId5"/>
    <p:sldLayoutId id="2147493190" r:id="rId6"/>
    <p:sldLayoutId id="2147493191" r:id="rId7"/>
    <p:sldLayoutId id="2147493192" r:id="rId8"/>
    <p:sldLayoutId id="2147493193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8">
            <a:extLst>
              <a:ext uri="{FF2B5EF4-FFF2-40B4-BE49-F238E27FC236}">
                <a16:creationId xmlns:a16="http://schemas.microsoft.com/office/drawing/2014/main" id="{7D9A630A-7EA8-4F4C-B7E4-EA650E4589F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3315" name="Текст 29">
            <a:extLst>
              <a:ext uri="{FF2B5EF4-FFF2-40B4-BE49-F238E27FC236}">
                <a16:creationId xmlns:a16="http://schemas.microsoft.com/office/drawing/2014/main" id="{3779DE6F-0F44-4DA9-806B-9803A8D853A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7665231A-9838-464F-97DA-5F702C461F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AC2BABCA-5EB2-4846-86DB-DD23037F3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2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B49CA1B9-8F37-4D08-B5AA-42D71E1A19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045C75"/>
                </a:solidFill>
              </a:defRPr>
            </a:lvl1pPr>
          </a:lstStyle>
          <a:p>
            <a:pPr>
              <a:defRPr/>
            </a:pPr>
            <a:fld id="{757FF547-1525-4C97-A8DE-57B08AA19B7F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</p:spTree>
    <p:extLst>
      <p:ext uri="{BB962C8B-B14F-4D97-AF65-F5344CB8AC3E}">
        <p14:creationId xmlns:p14="http://schemas.microsoft.com/office/powerpoint/2010/main" val="4106368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95" r:id="rId1"/>
    <p:sldLayoutId id="2147493196" r:id="rId2"/>
    <p:sldLayoutId id="2147493197" r:id="rId3"/>
    <p:sldLayoutId id="2147493198" r:id="rId4"/>
    <p:sldLayoutId id="2147493199" r:id="rId5"/>
    <p:sldLayoutId id="2147493200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90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379AD67F-983A-4B58-902A-8DD0548D49D0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52400" y="0"/>
            <a:ext cx="1447800" cy="68580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308171E-7940-402D-8773-A512A2E72953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676400" y="0"/>
            <a:ext cx="7467600" cy="12192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8" name="Rectangle 4" descr="Stationery">
            <a:extLst>
              <a:ext uri="{FF2B5EF4-FFF2-40B4-BE49-F238E27FC236}">
                <a16:creationId xmlns:a16="http://schemas.microsoft.com/office/drawing/2014/main" id="{9383C4FA-4D6F-4CD0-A4D3-389ADE507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0"/>
            <a:ext cx="1219200" cy="762000"/>
          </a:xfrm>
          <a:prstGeom prst="rect">
            <a:avLst/>
          </a:prstGeom>
          <a:blipFill dpi="0" rotWithShape="0">
            <a:blip r:embed="rId18" cstate="print"/>
            <a:srcRect/>
            <a:tile tx="0" ty="0" sx="100000" sy="100000" flip="none" algn="tl"/>
          </a:blip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9" name="Rectangle 5" descr="Stationery">
            <a:extLst>
              <a:ext uri="{FF2B5EF4-FFF2-40B4-BE49-F238E27FC236}">
                <a16:creationId xmlns:a16="http://schemas.microsoft.com/office/drawing/2014/main" id="{510B35F0-F2CC-49ED-97DF-EB5DAE5C87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457200" cy="6858000"/>
          </a:xfrm>
          <a:prstGeom prst="rect">
            <a:avLst/>
          </a:prstGeom>
          <a:blipFill dpi="0" rotWithShape="0">
            <a:blip r:embed="rId18" cstate="print"/>
            <a:srcRect/>
            <a:tile tx="0" ty="0" sx="100000" sy="100000" flip="none" algn="tl"/>
          </a:blip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5EFE39AE-4A83-401A-A677-5760BFFEB89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66800" y="8382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84007" name="Rectangle 7">
            <a:extLst>
              <a:ext uri="{FF2B5EF4-FFF2-40B4-BE49-F238E27FC236}">
                <a16:creationId xmlns:a16="http://schemas.microsoft.com/office/drawing/2014/main" id="{E16216CA-C58A-4CC0-A401-6365E5DB9ED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66800" y="64135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84008" name="Rectangle 8">
            <a:extLst>
              <a:ext uri="{FF2B5EF4-FFF2-40B4-BE49-F238E27FC236}">
                <a16:creationId xmlns:a16="http://schemas.microsoft.com/office/drawing/2014/main" id="{BE871D1F-6D5E-43FE-9CB9-132B9C750FE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29000" y="64135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pic>
        <p:nvPicPr>
          <p:cNvPr id="1033" name="Picture 9" descr="anabnr2">
            <a:extLst>
              <a:ext uri="{FF2B5EF4-FFF2-40B4-BE49-F238E27FC236}">
                <a16:creationId xmlns:a16="http://schemas.microsoft.com/office/drawing/2014/main" id="{5933D126-75DA-4D77-8210-D507C47596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8725" y="0"/>
            <a:ext cx="7915275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Rectangle 10">
            <a:extLst>
              <a:ext uri="{FF2B5EF4-FFF2-40B4-BE49-F238E27FC236}">
                <a16:creationId xmlns:a16="http://schemas.microsoft.com/office/drawing/2014/main" id="{D94327E5-1D85-434D-98D2-0478FBFB1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457200"/>
            <a:ext cx="2514600" cy="304800"/>
          </a:xfrm>
          <a:prstGeom prst="rect">
            <a:avLst/>
          </a:prstGeom>
          <a:solidFill>
            <a:schemeClr val="accent2">
              <a:alpha val="50195"/>
            </a:schemeClr>
          </a:soli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384011" name="Rectangle 11">
            <a:extLst>
              <a:ext uri="{FF2B5EF4-FFF2-40B4-BE49-F238E27FC236}">
                <a16:creationId xmlns:a16="http://schemas.microsoft.com/office/drawing/2014/main" id="{38D85538-CCA7-477D-B9B0-013FD67EAFF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29600" y="64135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483C063-7E7A-4D88-9848-DB2E0BC64DD2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  <p:sp>
        <p:nvSpPr>
          <p:cNvPr id="1036" name="Rectangle 12">
            <a:extLst>
              <a:ext uri="{FF2B5EF4-FFF2-40B4-BE49-F238E27FC236}">
                <a16:creationId xmlns:a16="http://schemas.microsoft.com/office/drawing/2014/main" id="{D2BA03C1-E579-4E0B-9364-66F0B862200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66800" y="210185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4941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251" r:id="rId1"/>
    <p:sldLayoutId id="2147490252" r:id="rId2"/>
    <p:sldLayoutId id="2147490253" r:id="rId3"/>
    <p:sldLayoutId id="2147490254" r:id="rId4"/>
    <p:sldLayoutId id="2147490255" r:id="rId5"/>
    <p:sldLayoutId id="2147490256" r:id="rId6"/>
    <p:sldLayoutId id="2147490257" r:id="rId7"/>
    <p:sldLayoutId id="2147490258" r:id="rId8"/>
    <p:sldLayoutId id="2147490259" r:id="rId9"/>
    <p:sldLayoutId id="2147490260" r:id="rId10"/>
    <p:sldLayoutId id="2147490261" r:id="rId11"/>
    <p:sldLayoutId id="2147490262" r:id="rId12"/>
    <p:sldLayoutId id="2147490263" r:id="rId13"/>
    <p:sldLayoutId id="2147490264" r:id="rId14"/>
    <p:sldLayoutId id="2147490265" r:id="rId15"/>
    <p:sldLayoutId id="2147490266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Clr>
          <a:srgbClr val="A50021"/>
        </a:buClr>
        <a:buSzPct val="75000"/>
        <a:buFont typeface="Wingdings" panose="05000000000000000000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1027113" indent="-4556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5000"/>
        <a:buFont typeface="Wingdings" panose="05000000000000000000" pitchFamily="2" charset="2"/>
        <a:buChar char="n"/>
        <a:defRPr sz="2800">
          <a:solidFill>
            <a:schemeClr val="tx1"/>
          </a:solidFill>
          <a:latin typeface="+mn-lt"/>
        </a:defRPr>
      </a:lvl2pPr>
      <a:lvl3pPr marL="1370013" indent="-228600" algn="l" rtl="0" eaLnBrk="0" fontAlgn="base" hangingPunct="0">
        <a:spcBef>
          <a:spcPct val="20000"/>
        </a:spcBef>
        <a:spcAft>
          <a:spcPct val="0"/>
        </a:spcAft>
        <a:buClr>
          <a:srgbClr val="666699"/>
        </a:buClr>
        <a:buSzPct val="70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</a:defRPr>
      </a:lvl3pPr>
      <a:lvl4pPr marL="1712913" indent="-228600" algn="l" rtl="0" eaLnBrk="0" fontAlgn="base" hangingPunct="0">
        <a:spcBef>
          <a:spcPct val="20000"/>
        </a:spcBef>
        <a:spcAft>
          <a:spcPct val="0"/>
        </a:spcAft>
        <a:buSzPct val="60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F77812-9BAF-4B6F-9AEB-4C2C4C781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92C6A2B-0E38-448E-B112-F17A3ACFC9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B60CF46-16E5-4B81-B9EE-720C2C7D40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4D56D8-09B5-49B1-9467-1C877C7F99BE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D103AA-D62E-402C-8175-143AB00D4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9BE7844-2DB8-4A1C-83E6-17BE4CDFB0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0AB065-2C28-4EC9-BF6D-2BADAC4B31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205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202" r:id="rId1"/>
    <p:sldLayoutId id="2147493203" r:id="rId2"/>
    <p:sldLayoutId id="2147493204" r:id="rId3"/>
    <p:sldLayoutId id="2147493205" r:id="rId4"/>
    <p:sldLayoutId id="2147493206" r:id="rId5"/>
    <p:sldLayoutId id="2147493207" r:id="rId6"/>
    <p:sldLayoutId id="2147493208" r:id="rId7"/>
    <p:sldLayoutId id="2147493209" r:id="rId8"/>
    <p:sldLayoutId id="2147493210" r:id="rId9"/>
    <p:sldLayoutId id="2147493211" r:id="rId10"/>
    <p:sldLayoutId id="2147493212" r:id="rId11"/>
    <p:sldLayoutId id="214749321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8" y="1732751"/>
            <a:ext cx="8101054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3" y="181939"/>
            <a:ext cx="809990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6617933"/>
            <a:ext cx="366761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D6A7F3A3-6181-4148-AC55-826E03905313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100" y="6617933"/>
            <a:ext cx="648084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Dec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2" y="6617933"/>
            <a:ext cx="294283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51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215" r:id="rId1"/>
    <p:sldLayoutId id="2147493216" r:id="rId2"/>
    <p:sldLayoutId id="2147493217" r:id="rId3"/>
    <p:sldLayoutId id="2147493218" r:id="rId4"/>
    <p:sldLayoutId id="2147493219" r:id="rId5"/>
    <p:sldLayoutId id="2147493220" r:id="rId6"/>
    <p:sldLayoutId id="2147493221" r:id="rId7"/>
    <p:sldLayoutId id="2147493222" r:id="rId8"/>
    <p:sldLayoutId id="2147493223" r:id="rId9"/>
    <p:sldLayoutId id="2147493224" r:id="rId10"/>
    <p:sldLayoutId id="2147493225" r:id="rId11"/>
    <p:sldLayoutId id="2147493226" r:id="rId12"/>
    <p:sldLayoutId id="2147493227" r:id="rId13"/>
    <p:sldLayoutId id="2147493228" r:id="rId14"/>
    <p:sldLayoutId id="2147493229" r:id="rId15"/>
    <p:sldLayoutId id="2147493230" r:id="rId16"/>
    <p:sldLayoutId id="2147493231" r:id="rId17"/>
    <p:sldLayoutId id="2147493232" r:id="rId18"/>
    <p:sldLayoutId id="2147493233" r:id="rId19"/>
    <p:sldLayoutId id="2147493234" r:id="rId20"/>
    <p:sldLayoutId id="2147493235" r:id="rId21"/>
    <p:sldLayoutId id="2147493236" r:id="rId22"/>
    <p:sldLayoutId id="2147493237" r:id="rId23"/>
    <p:sldLayoutId id="2147493238" r:id="rId24"/>
    <p:sldLayoutId id="2147493239" r:id="rId25"/>
    <p:sldLayoutId id="2147493240" r:id="rId26"/>
    <p:sldLayoutId id="2147493241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664" rtl="0" eaLnBrk="1" latinLnBrk="0" hangingPunct="1">
        <a:spcBef>
          <a:spcPct val="0"/>
        </a:spcBef>
        <a:buNone/>
        <a:defRPr sz="21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664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202460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29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404920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0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607379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1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809838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2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809838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2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809838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2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809838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2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809838" indent="-202460" algn="l" defTabSz="685664" rtl="0" eaLnBrk="1" latinLnBrk="0" hangingPunct="1">
        <a:spcBef>
          <a:spcPts val="225"/>
        </a:spcBef>
        <a:spcAft>
          <a:spcPts val="450"/>
        </a:spcAft>
        <a:buFontTx/>
        <a:buBlip>
          <a:blip r:embed="rId32"/>
        </a:buBlip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42832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685664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5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14157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056989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2" algn="l" defTabSz="685664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364F3563-013C-44A4-A86E-7307361B11E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DD6B8360-275E-45BA-918A-2E0B272EC16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CC4740-811D-4BD4-9AA1-46A14D9FE2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315F56E-D0F4-47A2-B623-6AC35438B294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D8E0DAB-3D01-403B-A23D-776D420D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F3F55C-9568-453C-B986-DE0B691A40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B8B62AC-B940-4B21-9E9B-2AAA6EB38A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08450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267" r:id="rId1"/>
    <p:sldLayoutId id="2147493268" r:id="rId2"/>
    <p:sldLayoutId id="2147493269" r:id="rId3"/>
    <p:sldLayoutId id="2147493270" r:id="rId4"/>
    <p:sldLayoutId id="2147493271" r:id="rId5"/>
    <p:sldLayoutId id="2147493272" r:id="rId6"/>
    <p:sldLayoutId id="2147493273" r:id="rId7"/>
    <p:sldLayoutId id="2147493274" r:id="rId8"/>
    <p:sldLayoutId id="2147493275" r:id="rId9"/>
    <p:sldLayoutId id="2147493276" r:id="rId10"/>
    <p:sldLayoutId id="2147493277" r:id="rId11"/>
    <p:sldLayoutId id="2147493278" r:id="rId12"/>
    <p:sldLayoutId id="2147493279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69347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48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12291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569350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1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2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569353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4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569356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7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4" name="Group 14"/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569359" name="Rectangle 15"/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60" name="Rectangle 16"/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229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2296" name="Rectangle 1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69363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fld id="{FF96BD75-5F98-4402-B15A-35A3E0790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667078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3281" r:id="rId1"/>
    <p:sldLayoutId id="2147493282" r:id="rId2"/>
    <p:sldLayoutId id="2147493283" r:id="rId3"/>
    <p:sldLayoutId id="2147493284" r:id="rId4"/>
    <p:sldLayoutId id="2147493285" r:id="rId5"/>
    <p:sldLayoutId id="2147493286" r:id="rId6"/>
    <p:sldLayoutId id="2147493287" r:id="rId7"/>
    <p:sldLayoutId id="2147493288" r:id="rId8"/>
    <p:sldLayoutId id="2147493289" r:id="rId9"/>
    <p:sldLayoutId id="2147493290" r:id="rId10"/>
    <p:sldLayoutId id="2147493291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D845D4-8DDB-4511-9CDA-F7D48EA0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8AAF263-2545-43A8-AEC9-9D06C2F76B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93FB32-6DFA-48A4-A861-BA683FD81C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EB8703-71E4-4A18-BA91-74062D96F63C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4070EDE-95F1-4B0D-B935-E14DBFD724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8AE7A00-F512-4975-B74A-489EBD9CC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406702-1EDD-4135-BB0A-84D4FE6CDA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47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13" r:id="rId1"/>
    <p:sldLayoutId id="2147493314" r:id="rId2"/>
    <p:sldLayoutId id="2147493315" r:id="rId3"/>
    <p:sldLayoutId id="2147493316" r:id="rId4"/>
    <p:sldLayoutId id="2147493317" r:id="rId5"/>
    <p:sldLayoutId id="2147493318" r:id="rId6"/>
    <p:sldLayoutId id="2147493319" r:id="rId7"/>
    <p:sldLayoutId id="2147493320" r:id="rId8"/>
    <p:sldLayoutId id="2147493321" r:id="rId9"/>
    <p:sldLayoutId id="2147493322" r:id="rId10"/>
    <p:sldLayoutId id="2147493323" r:id="rId11"/>
    <p:sldLayoutId id="2147493324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>
            <a:extLst>
              <a:ext uri="{FF2B5EF4-FFF2-40B4-BE49-F238E27FC236}">
                <a16:creationId xmlns:a16="http://schemas.microsoft.com/office/drawing/2014/main" id="{66706D4E-BEC6-4F18-852F-17248D40359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D33A3A6-E4D2-485F-8C3E-DC1849FB3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0C52B1-DE88-4EB7-AF53-972DA25FFE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 smtClean="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fld id="{E79A5F3C-6CCE-4FB8-A3C6-7DC1DF4154A2}" type="datetimeFigureOut">
              <a:rPr lang="ru-RU"/>
              <a:pPr>
                <a:defRPr/>
              </a:pPr>
              <a:t>17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1A4EFE8-971B-467A-9728-50D1EB3DE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B886FED-7349-48AB-A306-14872CEA4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900" smtClean="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fld id="{4488A405-AA97-473B-8685-F3CD8035CC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051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26" r:id="rId1"/>
    <p:sldLayoutId id="2147493327" r:id="rId2"/>
    <p:sldLayoutId id="2147493328" r:id="rId3"/>
    <p:sldLayoutId id="2147493329" r:id="rId4"/>
    <p:sldLayoutId id="2147493330" r:id="rId5"/>
    <p:sldLayoutId id="2147493331" r:id="rId6"/>
    <p:sldLayoutId id="2147493332" r:id="rId7"/>
    <p:sldLayoutId id="2147493333" r:id="rId8"/>
    <p:sldLayoutId id="2147493334" r:id="rId9"/>
    <p:sldLayoutId id="2147493335" r:id="rId10"/>
    <p:sldLayoutId id="2147493336" r:id="rId11"/>
  </p:sldLayoutIdLst>
  <p:txStyles>
    <p:titleStyle>
      <a:lvl1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fontAlgn="base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0">
            <a:extLst>
              <a:ext uri="{FF2B5EF4-FFF2-40B4-BE49-F238E27FC236}">
                <a16:creationId xmlns:a16="http://schemas.microsoft.com/office/drawing/2014/main" id="{773788BA-C14E-4E67-8773-7D9347F1D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3675"/>
            <a:ext cx="9144000" cy="667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2">
            <a:extLst>
              <a:ext uri="{FF2B5EF4-FFF2-40B4-BE49-F238E27FC236}">
                <a16:creationId xmlns:a16="http://schemas.microsoft.com/office/drawing/2014/main" id="{18F2AC17-43D1-4F05-9595-71991662FC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itelformat bearbeiten</a:t>
            </a:r>
          </a:p>
        </p:txBody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3C77427A-91E1-4AE1-8462-4ABC75767FC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extformat bearbeiten</a:t>
            </a:r>
          </a:p>
          <a:p>
            <a:pPr lvl="1"/>
            <a:r>
              <a:rPr lang="de-DE" altLang="ru-RU"/>
              <a:t>Zweite Ebene</a:t>
            </a:r>
          </a:p>
          <a:p>
            <a:pPr lvl="2"/>
            <a:r>
              <a:rPr lang="de-DE" altLang="ru-RU"/>
              <a:t>Dritte Ebene</a:t>
            </a:r>
          </a:p>
          <a:p>
            <a:pPr lvl="3"/>
            <a:r>
              <a:rPr lang="de-DE" altLang="ru-RU"/>
              <a:t>Vierte Ebene</a:t>
            </a:r>
          </a:p>
          <a:p>
            <a:pPr lvl="4"/>
            <a:r>
              <a:rPr lang="de-DE" altLang="ru-RU"/>
              <a:t>Fünfte Ebene</a:t>
            </a:r>
          </a:p>
        </p:txBody>
      </p:sp>
      <p:sp>
        <p:nvSpPr>
          <p:cNvPr id="70661" name="Rectangle 5">
            <a:extLst>
              <a:ext uri="{FF2B5EF4-FFF2-40B4-BE49-F238E27FC236}">
                <a16:creationId xmlns:a16="http://schemas.microsoft.com/office/drawing/2014/main" id="{A2CC285A-F589-4E70-AF9E-A843608218D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42100"/>
            <a:ext cx="6019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de-DE"/>
              <a:t>© Bionorica/GT/July 2016</a:t>
            </a:r>
            <a:endParaRPr lang="de-DE" dirty="0"/>
          </a:p>
        </p:txBody>
      </p:sp>
      <p:sp>
        <p:nvSpPr>
          <p:cNvPr id="70662" name="Rectangle 6">
            <a:extLst>
              <a:ext uri="{FF2B5EF4-FFF2-40B4-BE49-F238E27FC236}">
                <a16:creationId xmlns:a16="http://schemas.microsoft.com/office/drawing/2014/main" id="{109E27C5-6C76-4B3C-9932-9E800AD23E7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86575" y="6667500"/>
            <a:ext cx="2133600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F0DC2A4D-3E8A-4175-ABFA-2FF49699C74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684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38" r:id="rId1"/>
    <p:sldLayoutId id="2147493339" r:id="rId2"/>
    <p:sldLayoutId id="2147493340" r:id="rId3"/>
    <p:sldLayoutId id="2147493341" r:id="rId4"/>
    <p:sldLayoutId id="2147493342" r:id="rId5"/>
    <p:sldLayoutId id="2147493343" r:id="rId6"/>
    <p:sldLayoutId id="2147493344" r:id="rId7"/>
    <p:sldLayoutId id="2147493345" r:id="rId8"/>
    <p:sldLayoutId id="2147493346" r:id="rId9"/>
    <p:sldLayoutId id="2147493347" r:id="rId10"/>
    <p:sldLayoutId id="2147493348" r:id="rId11"/>
    <p:sldLayoutId id="2147493349" r:id="rId12"/>
    <p:sldLayoutId id="2147493350" r:id="rId13"/>
    <p:sldLayoutId id="2147493351" r:id="rId14"/>
    <p:sldLayoutId id="2147493352" r:id="rId15"/>
    <p:sldLayoutId id="2147493353" r:id="rId16"/>
    <p:sldLayoutId id="2147493354" r:id="rId17"/>
    <p:sldLayoutId id="2147493355" r:id="rId18"/>
    <p:sldLayoutId id="2147493356" r:id="rId1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3675"/>
            <a:ext cx="9144000" cy="667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066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42100"/>
            <a:ext cx="6019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>
              <a:defRPr sz="900" smtClean="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© Bionorica/GT/July 2016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06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86575" y="6667320"/>
            <a:ext cx="2133600" cy="23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>
              <a:defRPr sz="1000" b="1" smtClean="0">
                <a:latin typeface="Verdana" pitchFamily="34" charset="0"/>
              </a:defRPr>
            </a:lvl1pPr>
          </a:lstStyle>
          <a:p>
            <a:pPr>
              <a:defRPr/>
            </a:pPr>
            <a:fld id="{8D5316A0-0F26-4EEB-B5E1-015FF19F6D1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236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58" r:id="rId1"/>
    <p:sldLayoutId id="2147493359" r:id="rId2"/>
    <p:sldLayoutId id="2147493360" r:id="rId3"/>
    <p:sldLayoutId id="2147493361" r:id="rId4"/>
    <p:sldLayoutId id="2147493362" r:id="rId5"/>
    <p:sldLayoutId id="2147493363" r:id="rId6"/>
    <p:sldLayoutId id="2147493364" r:id="rId7"/>
    <p:sldLayoutId id="2147493365" r:id="rId8"/>
    <p:sldLayoutId id="2147493366" r:id="rId9"/>
    <p:sldLayoutId id="2147493367" r:id="rId10"/>
    <p:sldLayoutId id="2147493368" r:id="rId11"/>
    <p:sldLayoutId id="2147493369" r:id="rId12"/>
    <p:sldLayoutId id="2147493370" r:id="rId13"/>
    <p:sldLayoutId id="2147493371" r:id="rId14"/>
    <p:sldLayoutId id="2147493372" r:id="rId15"/>
    <p:sldLayoutId id="2147493373" r:id="rId16"/>
    <p:sldLayoutId id="2147493374" r:id="rId17"/>
    <p:sldLayoutId id="2147493375" r:id="rId1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69347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48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12291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569350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1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2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569353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4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569356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7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4" name="Group 14"/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569359" name="Rectangle 15"/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60" name="Rectangle 16"/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229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2296" name="Rectangle 1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69363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fld id="{FF96BD75-5F98-4402-B15A-35A3E0790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46297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3377" r:id="rId1"/>
    <p:sldLayoutId id="2147493378" r:id="rId2"/>
    <p:sldLayoutId id="2147493379" r:id="rId3"/>
    <p:sldLayoutId id="2147493380" r:id="rId4"/>
    <p:sldLayoutId id="2147493381" r:id="rId5"/>
    <p:sldLayoutId id="2147493382" r:id="rId6"/>
    <p:sldLayoutId id="2147493383" r:id="rId7"/>
    <p:sldLayoutId id="2147493384" r:id="rId8"/>
    <p:sldLayoutId id="2147493385" r:id="rId9"/>
    <p:sldLayoutId id="2147493386" r:id="rId10"/>
    <p:sldLayoutId id="2147493387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5307" y="1732751"/>
            <a:ext cx="8101055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6462" y="181938"/>
            <a:ext cx="809990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342009" y="6617933"/>
            <a:ext cx="366761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525">
                <a:noFill/>
              </a:defRPr>
            </a:lvl1pPr>
            <a:lvl2pPr marL="1191" indent="0" algn="r">
              <a:defRPr sz="525">
                <a:noFill/>
              </a:defRPr>
            </a:lvl2pPr>
            <a:lvl3pPr marL="0" indent="0" algn="r">
              <a:defRPr sz="525">
                <a:noFill/>
              </a:defRPr>
            </a:lvl3pPr>
            <a:lvl4pPr marL="0" indent="0" algn="r">
              <a:tabLst/>
              <a:defRPr sz="525">
                <a:noFill/>
              </a:defRPr>
            </a:lvl4pPr>
            <a:lvl5pPr marL="0" indent="0" algn="r">
              <a:defRPr sz="525">
                <a:noFill/>
              </a:defRPr>
            </a:lvl5pPr>
            <a:lvl6pPr marL="0" indent="0" algn="r">
              <a:defRPr sz="525">
                <a:noFill/>
              </a:defRPr>
            </a:lvl6pPr>
            <a:lvl7pPr marL="0" indent="0" algn="r">
              <a:defRPr sz="525">
                <a:noFill/>
              </a:defRPr>
            </a:lvl7pPr>
            <a:lvl8pPr marL="0" indent="0" algn="r">
              <a:defRPr sz="525">
                <a:noFill/>
              </a:defRPr>
            </a:lvl8pPr>
            <a:lvl9pPr marL="0" indent="0" algn="r">
              <a:defRPr sz="525">
                <a:noFill/>
              </a:defRPr>
            </a:lvl9pPr>
          </a:lstStyle>
          <a:p>
            <a:fld id="{7093961F-F07C-4F2F-837B-06BC7DEE77C8}" type="datetime1">
              <a:rPr lang="en-US" smtClean="0"/>
              <a:t>11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100" y="6617933"/>
            <a:ext cx="648084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525">
                <a:solidFill>
                  <a:schemeClr val="accent1"/>
                </a:solidFill>
              </a:defRPr>
            </a:lvl1pPr>
            <a:lvl2pPr marL="0" indent="0">
              <a:defRPr sz="525">
                <a:solidFill>
                  <a:schemeClr val="accent1"/>
                </a:solidFill>
              </a:defRPr>
            </a:lvl2pPr>
            <a:lvl3pPr marL="0" indent="0">
              <a:defRPr sz="525">
                <a:solidFill>
                  <a:schemeClr val="accent1"/>
                </a:solidFill>
              </a:defRPr>
            </a:lvl3pPr>
            <a:lvl4pPr marL="0" indent="0">
              <a:defRPr sz="525">
                <a:solidFill>
                  <a:schemeClr val="accent1"/>
                </a:solidFill>
              </a:defRPr>
            </a:lvl4pPr>
            <a:lvl5pPr marL="0" indent="0">
              <a:defRPr sz="525">
                <a:solidFill>
                  <a:schemeClr val="accent1"/>
                </a:solidFill>
              </a:defRPr>
            </a:lvl5pPr>
            <a:lvl6pPr marL="0" indent="0">
              <a:tabLst/>
              <a:defRPr sz="525">
                <a:solidFill>
                  <a:schemeClr val="accent1"/>
                </a:solidFill>
              </a:defRPr>
            </a:lvl6pPr>
            <a:lvl7pPr marL="0" indent="0">
              <a:tabLst/>
              <a:defRPr sz="525">
                <a:solidFill>
                  <a:schemeClr val="accent1"/>
                </a:solidFill>
              </a:defRPr>
            </a:lvl7pPr>
            <a:lvl8pPr marL="0" indent="0">
              <a:defRPr sz="525">
                <a:solidFill>
                  <a:schemeClr val="accent1"/>
                </a:solidFill>
              </a:defRPr>
            </a:lvl8pPr>
            <a:lvl9pPr marL="0" indent="0">
              <a:defRPr sz="525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Chart Pool /// November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46902" y="6617933"/>
            <a:ext cx="294283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525">
                <a:solidFill>
                  <a:schemeClr val="accent2"/>
                </a:solidFill>
              </a:defRPr>
            </a:lvl1pPr>
            <a:lvl2pPr marL="0" indent="0" algn="ctr">
              <a:defRPr sz="525">
                <a:solidFill>
                  <a:schemeClr val="accent2"/>
                </a:solidFill>
              </a:defRPr>
            </a:lvl2pPr>
            <a:lvl3pPr marL="0" indent="0" algn="ctr">
              <a:defRPr sz="525">
                <a:solidFill>
                  <a:schemeClr val="accent2"/>
                </a:solidFill>
              </a:defRPr>
            </a:lvl3pPr>
            <a:lvl4pPr marL="0" indent="0" algn="ctr">
              <a:defRPr sz="525">
                <a:solidFill>
                  <a:schemeClr val="accent2"/>
                </a:solidFill>
              </a:defRPr>
            </a:lvl4pPr>
            <a:lvl5pPr marL="0" indent="0" algn="ctr">
              <a:defRPr sz="525">
                <a:solidFill>
                  <a:schemeClr val="accent2"/>
                </a:solidFill>
              </a:defRPr>
            </a:lvl5pPr>
            <a:lvl6pPr marL="0" indent="0" algn="ctr">
              <a:defRPr sz="525">
                <a:solidFill>
                  <a:schemeClr val="accent2"/>
                </a:solidFill>
              </a:defRPr>
            </a:lvl6pPr>
            <a:lvl7pPr marL="0" indent="0" algn="ctr">
              <a:defRPr sz="525">
                <a:solidFill>
                  <a:schemeClr val="accent2"/>
                </a:solidFill>
              </a:defRPr>
            </a:lvl7pPr>
            <a:lvl8pPr marL="0" indent="0" algn="ctr">
              <a:defRPr sz="525">
                <a:solidFill>
                  <a:schemeClr val="accent2"/>
                </a:solidFill>
              </a:defRPr>
            </a:lvl8pPr>
            <a:lvl9pPr marL="0" indent="0" algn="ctr">
              <a:defRPr sz="525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8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89" r:id="rId1"/>
    <p:sldLayoutId id="2147493390" r:id="rId2"/>
    <p:sldLayoutId id="2147493391" r:id="rId3"/>
    <p:sldLayoutId id="2147493392" r:id="rId4"/>
    <p:sldLayoutId id="2147493393" r:id="rId5"/>
    <p:sldLayoutId id="2147493394" r:id="rId6"/>
    <p:sldLayoutId id="2147493395" r:id="rId7"/>
    <p:sldLayoutId id="2147493396" r:id="rId8"/>
    <p:sldLayoutId id="2147493397" r:id="rId9"/>
    <p:sldLayoutId id="2147493398" r:id="rId10"/>
    <p:sldLayoutId id="2147493399" r:id="rId11"/>
    <p:sldLayoutId id="2147493400" r:id="rId12"/>
    <p:sldLayoutId id="2147493401" r:id="rId13"/>
    <p:sldLayoutId id="2147493402" r:id="rId14"/>
    <p:sldLayoutId id="2147493403" r:id="rId15"/>
    <p:sldLayoutId id="2147493404" r:id="rId16"/>
    <p:sldLayoutId id="2147493405" r:id="rId17"/>
    <p:sldLayoutId id="2147493406" r:id="rId18"/>
    <p:sldLayoutId id="2147493407" r:id="rId19"/>
    <p:sldLayoutId id="2147493408" r:id="rId20"/>
    <p:sldLayoutId id="2147493409" r:id="rId21"/>
    <p:sldLayoutId id="2147493410" r:id="rId22"/>
    <p:sldLayoutId id="214749341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450"/>
        </a:spcAft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02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5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6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075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7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810000" indent="-202500" algn="l" defTabSz="685800" rtl="0" eaLnBrk="1" latinLnBrk="0" hangingPunct="1">
        <a:spcBef>
          <a:spcPts val="225"/>
        </a:spcBef>
        <a:spcAft>
          <a:spcPts val="450"/>
        </a:spcAft>
        <a:buFontTx/>
        <a:buBlip>
          <a:blip r:embed="rId28"/>
        </a:buBlip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pos="3908">
          <p15:clr>
            <a:srgbClr val="F26B43"/>
          </p15:clr>
        </p15:guide>
        <p15:guide id="3" pos="4134">
          <p15:clr>
            <a:srgbClr val="F26B43"/>
          </p15:clr>
        </p15:guide>
        <p15:guide id="6" pos="7422">
          <p15:clr>
            <a:srgbClr val="F26B43"/>
          </p15:clr>
        </p15:guide>
        <p15:guide id="7" pos="2376">
          <p15:clr>
            <a:srgbClr val="F26B43"/>
          </p15:clr>
        </p15:guide>
        <p15:guide id="8" pos="2150">
          <p15:clr>
            <a:srgbClr val="F26B43"/>
          </p15:clr>
        </p15:guide>
        <p15:guide id="9" pos="619">
          <p15:clr>
            <a:srgbClr val="F26B43"/>
          </p15:clr>
        </p15:guide>
        <p15:guide id="10" orient="horz" pos="2478">
          <p15:clr>
            <a:srgbClr val="F26B43"/>
          </p15:clr>
        </p15:guide>
        <p15:guide id="11" orient="horz" pos="2592">
          <p15:clr>
            <a:srgbClr val="F26B43"/>
          </p15:clr>
        </p15:guide>
        <p15:guide id="12" orient="horz" pos="4086">
          <p15:clr>
            <a:srgbClr val="F26B43"/>
          </p15:clr>
        </p15:guide>
        <p15:guide id="13" pos="5894">
          <p15:clr>
            <a:srgbClr val="F26B43"/>
          </p15:clr>
        </p15:guide>
        <p15:guide id="14" pos="5666">
          <p15:clr>
            <a:srgbClr val="F26B43"/>
          </p15:clr>
        </p15:guide>
        <p15:guide id="15" pos="4020">
          <p15:clr>
            <a:srgbClr val="F26B43"/>
          </p15:clr>
        </p15:guide>
        <p15:guide id="16" orient="horz" pos="27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>
            <a:alpha val="67842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379AD67F-983A-4B58-902A-8DD0548D49D0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52400" y="0"/>
            <a:ext cx="1447800" cy="68580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308171E-7940-402D-8773-A512A2E72953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676400" y="0"/>
            <a:ext cx="7467600" cy="121920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8" name="Rectangle 4" descr="Stationery">
            <a:extLst>
              <a:ext uri="{FF2B5EF4-FFF2-40B4-BE49-F238E27FC236}">
                <a16:creationId xmlns:a16="http://schemas.microsoft.com/office/drawing/2014/main" id="{9383C4FA-4D6F-4CD0-A4D3-389ADE507C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0"/>
            <a:ext cx="1219200" cy="762000"/>
          </a:xfrm>
          <a:prstGeom prst="rect">
            <a:avLst/>
          </a:prstGeom>
          <a:blipFill dpi="0" rotWithShape="0">
            <a:blip r:embed="rId18" cstate="print"/>
            <a:srcRect/>
            <a:tile tx="0" ty="0" sx="100000" sy="100000" flip="none" algn="tl"/>
          </a:blip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29" name="Rectangle 5" descr="Stationery">
            <a:extLst>
              <a:ext uri="{FF2B5EF4-FFF2-40B4-BE49-F238E27FC236}">
                <a16:creationId xmlns:a16="http://schemas.microsoft.com/office/drawing/2014/main" id="{510B35F0-F2CC-49ED-97DF-EB5DAE5C87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457200" cy="6858000"/>
          </a:xfrm>
          <a:prstGeom prst="rect">
            <a:avLst/>
          </a:prstGeom>
          <a:blipFill dpi="0" rotWithShape="0">
            <a:blip r:embed="rId18" cstate="print"/>
            <a:srcRect/>
            <a:tile tx="0" ty="0" sx="100000" sy="100000" flip="none" algn="tl"/>
          </a:blip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D24CE62F-0DC3-40B3-9040-224BD0BED3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066800" y="8382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84007" name="Rectangle 7">
            <a:extLst>
              <a:ext uri="{FF2B5EF4-FFF2-40B4-BE49-F238E27FC236}">
                <a16:creationId xmlns:a16="http://schemas.microsoft.com/office/drawing/2014/main" id="{E16216CA-C58A-4CC0-A401-6365E5DB9ED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66800" y="64135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84008" name="Rectangle 8">
            <a:extLst>
              <a:ext uri="{FF2B5EF4-FFF2-40B4-BE49-F238E27FC236}">
                <a16:creationId xmlns:a16="http://schemas.microsoft.com/office/drawing/2014/main" id="{BE871D1F-6D5E-43FE-9CB9-132B9C750FE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29000" y="64135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pic>
        <p:nvPicPr>
          <p:cNvPr id="1033" name="Picture 9" descr="anabnr2">
            <a:extLst>
              <a:ext uri="{FF2B5EF4-FFF2-40B4-BE49-F238E27FC236}">
                <a16:creationId xmlns:a16="http://schemas.microsoft.com/office/drawing/2014/main" id="{67EAAC7F-AA6F-4DBA-A658-CF299E25CD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8725" y="0"/>
            <a:ext cx="7915275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Rectangle 10">
            <a:extLst>
              <a:ext uri="{FF2B5EF4-FFF2-40B4-BE49-F238E27FC236}">
                <a16:creationId xmlns:a16="http://schemas.microsoft.com/office/drawing/2014/main" id="{D94327E5-1D85-434D-98D2-0478FBFB1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0" y="457200"/>
            <a:ext cx="2514600" cy="304800"/>
          </a:xfrm>
          <a:prstGeom prst="rect">
            <a:avLst/>
          </a:prstGeom>
          <a:solidFill>
            <a:schemeClr val="accent2">
              <a:alpha val="50195"/>
            </a:schemeClr>
          </a:solidFill>
          <a:ln>
            <a:noFill/>
          </a:ln>
        </p:spPr>
        <p:txBody>
          <a:bodyPr wrap="none" anchor="ctr"/>
          <a:lstStyle>
            <a:lvl1pPr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lang="ru-RU" altLang="ru-RU"/>
          </a:p>
        </p:txBody>
      </p:sp>
      <p:sp>
        <p:nvSpPr>
          <p:cNvPr id="384011" name="Rectangle 11">
            <a:extLst>
              <a:ext uri="{FF2B5EF4-FFF2-40B4-BE49-F238E27FC236}">
                <a16:creationId xmlns:a16="http://schemas.microsoft.com/office/drawing/2014/main" id="{38D85538-CCA7-477D-B9B0-013FD67EAFF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29600" y="64135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0CC8F5B-A265-4594-9A36-A63911971CD1}" type="slidenum">
              <a:rPr lang="ru-RU" altLang="ru-RU"/>
              <a:pPr>
                <a:defRPr/>
              </a:pPr>
              <a:t>‹#›</a:t>
            </a:fld>
            <a:endParaRPr lang="ru-RU" altLang="ru-RU" sz="1400"/>
          </a:p>
        </p:txBody>
      </p:sp>
      <p:sp>
        <p:nvSpPr>
          <p:cNvPr id="1036" name="Rectangle 12">
            <a:extLst>
              <a:ext uri="{FF2B5EF4-FFF2-40B4-BE49-F238E27FC236}">
                <a16:creationId xmlns:a16="http://schemas.microsoft.com/office/drawing/2014/main" id="{EFC0C052-83E6-45C8-8988-024B50BE3F6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66800" y="210185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1046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383" r:id="rId1"/>
    <p:sldLayoutId id="2147490384" r:id="rId2"/>
    <p:sldLayoutId id="2147490385" r:id="rId3"/>
    <p:sldLayoutId id="2147490386" r:id="rId4"/>
    <p:sldLayoutId id="2147490387" r:id="rId5"/>
    <p:sldLayoutId id="2147490388" r:id="rId6"/>
    <p:sldLayoutId id="2147490389" r:id="rId7"/>
    <p:sldLayoutId id="2147490390" r:id="rId8"/>
    <p:sldLayoutId id="2147490391" r:id="rId9"/>
    <p:sldLayoutId id="2147490392" r:id="rId10"/>
    <p:sldLayoutId id="2147490393" r:id="rId11"/>
    <p:sldLayoutId id="2147490394" r:id="rId12"/>
    <p:sldLayoutId id="2147490395" r:id="rId13"/>
    <p:sldLayoutId id="2147490396" r:id="rId14"/>
    <p:sldLayoutId id="2147490397" r:id="rId15"/>
    <p:sldLayoutId id="2147490398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Clr>
          <a:srgbClr val="A50021"/>
        </a:buClr>
        <a:buSzPct val="75000"/>
        <a:buFont typeface="Wingdings" panose="05000000000000000000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1027113" indent="-4556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5000"/>
        <a:buFont typeface="Wingdings" panose="05000000000000000000" pitchFamily="2" charset="2"/>
        <a:buChar char="n"/>
        <a:defRPr sz="2800">
          <a:solidFill>
            <a:schemeClr val="tx1"/>
          </a:solidFill>
          <a:latin typeface="+mn-lt"/>
        </a:defRPr>
      </a:lvl2pPr>
      <a:lvl3pPr marL="1370013" indent="-228600" algn="l" rtl="0" eaLnBrk="0" fontAlgn="base" hangingPunct="0">
        <a:spcBef>
          <a:spcPct val="20000"/>
        </a:spcBef>
        <a:spcAft>
          <a:spcPct val="0"/>
        </a:spcAft>
        <a:buClr>
          <a:srgbClr val="666699"/>
        </a:buClr>
        <a:buSzPct val="70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</a:defRPr>
      </a:lvl3pPr>
      <a:lvl4pPr marL="1712913" indent="-228600" algn="l" rtl="0" eaLnBrk="0" fontAlgn="base" hangingPunct="0">
        <a:spcBef>
          <a:spcPct val="20000"/>
        </a:spcBef>
        <a:spcAft>
          <a:spcPct val="0"/>
        </a:spcAft>
        <a:buSzPct val="60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8">
            <a:extLst>
              <a:ext uri="{FF2B5EF4-FFF2-40B4-BE49-F238E27FC236}">
                <a16:creationId xmlns:a16="http://schemas.microsoft.com/office/drawing/2014/main" id="{5469111A-C63B-4A57-9880-E286F2FFDAB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3075" name="Текст 29">
            <a:extLst>
              <a:ext uri="{FF2B5EF4-FFF2-40B4-BE49-F238E27FC236}">
                <a16:creationId xmlns:a16="http://schemas.microsoft.com/office/drawing/2014/main" id="{2CC8E488-5E70-4F6B-88CB-36C2FDFBC5E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5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002F900B-AC79-4CFF-B5AE-DF8989A587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9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8ADB093E-1AC3-4F20-BA09-1FEEC6E336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2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900">
                <a:solidFill>
                  <a:srgbClr val="045C75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E122C8DD-8E46-424D-81EB-9101E553A2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900">
                <a:solidFill>
                  <a:srgbClr val="045C75"/>
                </a:solidFill>
              </a:defRPr>
            </a:lvl1pPr>
          </a:lstStyle>
          <a:p>
            <a:pPr>
              <a:defRPr/>
            </a:pPr>
            <a:fld id="{AFE2075C-C3E0-4637-9B30-31369759E1FD}" type="slidenum">
              <a:rPr lang="ru-RU" altLang="ru-RU"/>
              <a:pPr>
                <a:defRPr/>
              </a:pPr>
              <a:t>‹#›</a:t>
            </a:fld>
            <a:endParaRPr lang="ru-RU" altLang="ru-RU" sz="1050"/>
          </a:p>
        </p:txBody>
      </p:sp>
    </p:spTree>
    <p:extLst>
      <p:ext uri="{BB962C8B-B14F-4D97-AF65-F5344CB8AC3E}">
        <p14:creationId xmlns:p14="http://schemas.microsoft.com/office/powerpoint/2010/main" val="3312509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13" r:id="rId1"/>
    <p:sldLayoutId id="2147493414" r:id="rId2"/>
    <p:sldLayoutId id="2147493415" r:id="rId3"/>
    <p:sldLayoutId id="2147493416" r:id="rId4"/>
    <p:sldLayoutId id="2147493417" r:id="rId5"/>
    <p:sldLayoutId id="2147493418" r:id="rId6"/>
    <p:sldLayoutId id="2147493419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75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9pPr>
    </p:titleStyle>
    <p:bodyStyle>
      <a:lvl1pPr marL="204788" indent="-204788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195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479822" indent="-18454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1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685800" indent="-18454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1575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890588" indent="-157163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096566" indent="-157163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303020" indent="-157734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645920" indent="-137160" algn="l" rtl="0" eaLnBrk="1" latinLnBrk="0" hangingPunct="1">
        <a:spcBef>
          <a:spcPct val="20000"/>
        </a:spcBef>
        <a:buClr>
          <a:schemeClr val="tx2"/>
        </a:buClr>
        <a:buChar char="•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851660" indent="-13716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8"/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935165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20" name="Нижний колонтитул 5"/>
          <p:cNvSpPr>
            <a:spLocks noGrp="1"/>
          </p:cNvSpPr>
          <p:nvPr>
            <p:ph type="ftr" sz="quarter" idx="3"/>
          </p:nvPr>
        </p:nvSpPr>
        <p:spPr>
          <a:xfrm>
            <a:off x="2667000" y="6356352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21" name="Номер слайда 6"/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900">
                <a:solidFill>
                  <a:srgbClr val="045C7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D3DEE8-B2FB-4332-AF74-16A3EE27511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1245671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21" r:id="rId1"/>
    <p:sldLayoutId id="2147493422" r:id="rId2"/>
    <p:sldLayoutId id="2147493423" r:id="rId3"/>
    <p:sldLayoutId id="2147493424" r:id="rId4"/>
    <p:sldLayoutId id="2147493425" r:id="rId5"/>
    <p:sldLayoutId id="2147493426" r:id="rId6"/>
    <p:sldLayoutId id="2147493427" r:id="rId7"/>
    <p:sldLayoutId id="2147493428" r:id="rId8"/>
    <p:sldLayoutId id="214749342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75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750">
          <a:solidFill>
            <a:schemeClr val="tx2"/>
          </a:solidFill>
          <a:latin typeface="Calibri" pitchFamily="34" charset="0"/>
        </a:defRPr>
      </a:lvl9pPr>
    </p:titleStyle>
    <p:bodyStyle>
      <a:lvl1pPr marL="204788" indent="-204788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itchFamily="18" charset="2"/>
        <a:buChar char=""/>
        <a:defRPr sz="195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479822" indent="-18454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1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685800" indent="-18454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"/>
        <a:defRPr sz="1575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890588" indent="-157163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096566" indent="-157163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itchFamily="18" charset="2"/>
        <a:buChar char=""/>
        <a:defRPr sz="15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303020" indent="-157734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645920" indent="-137160" algn="l" rtl="0" eaLnBrk="1" latinLnBrk="0" hangingPunct="1">
        <a:spcBef>
          <a:spcPct val="20000"/>
        </a:spcBef>
        <a:buClr>
          <a:schemeClr val="tx2"/>
        </a:buClr>
        <a:buChar char="•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851660" indent="-13716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elplatzhalter 1">
            <a:extLst>
              <a:ext uri="{FF2B5EF4-FFF2-40B4-BE49-F238E27FC236}">
                <a16:creationId xmlns:a16="http://schemas.microsoft.com/office/drawing/2014/main" id="{34079048-B339-4253-B26C-39011976ADD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13147" y="708881"/>
            <a:ext cx="7514076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lvl="0" rtl="0"/>
            <a:r>
              <a:rPr lang="ru"/>
              <a:t>Titelmasterformat durch Klicken bearbeiten</a:t>
            </a:r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B05FBE99-3108-4637-A63B-B9B9131EBF9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13147" y="1656265"/>
            <a:ext cx="8479631" cy="3933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ru"/>
              <a:t>Textmasterformate durch Klicken bearbeiten</a:t>
            </a:r>
          </a:p>
          <a:p>
            <a:pPr lvl="1" rtl="0"/>
            <a:r>
              <a:rPr lang="ru"/>
              <a:t>Zweite Ebene</a:t>
            </a:r>
          </a:p>
          <a:p>
            <a:pPr lvl="2" rtl="0"/>
            <a:r>
              <a:rPr lang="ru"/>
              <a:t>Dritte Ebene</a:t>
            </a:r>
          </a:p>
          <a:p>
            <a:pPr lvl="3" rtl="0"/>
            <a:r>
              <a:rPr lang="ru"/>
              <a:t>Vierte Ebene</a:t>
            </a:r>
          </a:p>
          <a:p>
            <a:pPr lvl="4" rtl="0"/>
            <a:r>
              <a:rPr lang="ru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81018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31" r:id="rId1"/>
    <p:sldLayoutId id="2147493432" r:id="rId2"/>
    <p:sldLayoutId id="2147493433" r:id="rId3"/>
    <p:sldLayoutId id="2147493434" r:id="rId4"/>
    <p:sldLayoutId id="2147493435" r:id="rId5"/>
    <p:sldLayoutId id="2147493436" r:id="rId6"/>
    <p:sldLayoutId id="2147493437" r:id="rId7"/>
    <p:sldLayoutId id="2147493438" r:id="rId8"/>
    <p:sldLayoutId id="2147493439" r:id="rId9"/>
    <p:sldLayoutId id="2147493440" r:id="rId10"/>
    <p:sldLayoutId id="2147493441" r:id="rId11"/>
    <p:sldLayoutId id="2147493442" r:id="rId12"/>
    <p:sldLayoutId id="2147493443" r:id="rId13"/>
    <p:sldLayoutId id="2147493444" r:id="rId14"/>
    <p:sldLayoutId id="2147493445" r:id="rId15"/>
    <p:sldLayoutId id="2147493446" r:id="rId16"/>
    <p:sldLayoutId id="2147493447" r:id="rId17"/>
    <p:sldLayoutId id="2147493448" r:id="rId18"/>
    <p:sldLayoutId id="2147493449" r:id="rId19"/>
    <p:sldLayoutId id="2147493450" r:id="rId20"/>
    <p:sldLayoutId id="2147493451" r:id="rId21"/>
    <p:sldLayoutId id="2147493452" r:id="rId2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kern="1200">
          <a:solidFill>
            <a:schemeClr val="accent5"/>
          </a:solidFill>
          <a:latin typeface="+mj-lt"/>
          <a:ea typeface="ＭＳ Ｐゴシック" charset="0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75">
          <a:solidFill>
            <a:srgbClr val="0091DF"/>
          </a:solidFill>
          <a:latin typeface="Calibri" panose="020F0502020204030204" pitchFamily="34" charset="0"/>
          <a:ea typeface="ＭＳ Ｐゴシック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75">
          <a:solidFill>
            <a:srgbClr val="0091DF"/>
          </a:solidFill>
          <a:latin typeface="Calibri" panose="020F0502020204030204" pitchFamily="34" charset="0"/>
          <a:ea typeface="ＭＳ Ｐゴシック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75">
          <a:solidFill>
            <a:srgbClr val="0091DF"/>
          </a:solidFill>
          <a:latin typeface="Calibri" panose="020F0502020204030204" pitchFamily="34" charset="0"/>
          <a:ea typeface="ＭＳ Ｐゴシック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75">
          <a:solidFill>
            <a:srgbClr val="0091DF"/>
          </a:solidFill>
          <a:latin typeface="Calibri" panose="020F0502020204030204" pitchFamily="34" charset="0"/>
          <a:ea typeface="ＭＳ Ｐゴシック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984807"/>
          </a:solidFill>
          <a:latin typeface="Arial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984807"/>
          </a:solidFill>
          <a:latin typeface="Arial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984807"/>
          </a:solidFill>
          <a:latin typeface="Arial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984807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rgbClr val="676767"/>
          </a:solidFill>
          <a:latin typeface="+mj-lt"/>
          <a:ea typeface="ＭＳ Ｐゴシック" charset="0"/>
          <a:cs typeface="Arial" pitchFamily="34" charset="0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rgbClr val="676767"/>
          </a:solidFill>
          <a:latin typeface="+mj-lt"/>
          <a:ea typeface="Arial" charset="0"/>
          <a:cs typeface="Arial" pitchFamily="34" charset="0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rgbClr val="676767"/>
          </a:solidFill>
          <a:latin typeface="+mj-lt"/>
          <a:ea typeface="Arial" charset="0"/>
          <a:cs typeface="Arial" pitchFamily="34" charset="0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rgbClr val="676767"/>
          </a:solidFill>
          <a:latin typeface="+mj-lt"/>
          <a:ea typeface="Arial" charset="0"/>
          <a:cs typeface="Arial" pitchFamily="34" charset="0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rgbClr val="676767"/>
          </a:solidFill>
          <a:latin typeface="+mj-lt"/>
          <a:ea typeface="Arial" charset="0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47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3521">
          <p15:clr>
            <a:srgbClr val="F26B43"/>
          </p15:clr>
        </p15:guide>
        <p15:guide id="6" orient="horz" pos="1026">
          <p15:clr>
            <a:srgbClr val="F26B43"/>
          </p15:clr>
        </p15:guide>
        <p15:guide id="7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8">
            <a:extLst>
              <a:ext uri="{FF2B5EF4-FFF2-40B4-BE49-F238E27FC236}">
                <a16:creationId xmlns:a16="http://schemas.microsoft.com/office/drawing/2014/main" id="{C585CAE7-6DA6-4CBB-8F56-F7963CDA303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6387" name="Текст 29">
            <a:extLst>
              <a:ext uri="{FF2B5EF4-FFF2-40B4-BE49-F238E27FC236}">
                <a16:creationId xmlns:a16="http://schemas.microsoft.com/office/drawing/2014/main" id="{E00E387D-3B3B-42CD-AA64-F6C939818B7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9" name="Дата 4">
            <a:extLst>
              <a:ext uri="{FF2B5EF4-FFF2-40B4-BE49-F238E27FC236}">
                <a16:creationId xmlns:a16="http://schemas.microsoft.com/office/drawing/2014/main" id="{420D150C-5238-4C34-A4A1-C51296AF2E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ижний колонтитул 5">
            <a:extLst>
              <a:ext uri="{FF2B5EF4-FFF2-40B4-BE49-F238E27FC236}">
                <a16:creationId xmlns:a16="http://schemas.microsoft.com/office/drawing/2014/main" id="{B7C0E658-02F9-4375-B7A6-AF3F90D05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Номер слайда 6">
            <a:extLst>
              <a:ext uri="{FF2B5EF4-FFF2-40B4-BE49-F238E27FC236}">
                <a16:creationId xmlns:a16="http://schemas.microsoft.com/office/drawing/2014/main" id="{886D83DA-EFC5-42CB-A812-4108E41AC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609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045C75"/>
                </a:solidFill>
                <a:latin typeface="Arial" charset="0"/>
              </a:defRPr>
            </a:lvl1pPr>
          </a:lstStyle>
          <a:p>
            <a:pPr>
              <a:defRPr/>
            </a:pPr>
            <a:fld id="{C033FFCB-D18F-432C-A34C-8A07CA9F8662}" type="slidenum">
              <a:rPr lang="ru-RU"/>
              <a:pPr>
                <a:defRPr/>
              </a:pPr>
              <a:t>‹#›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1739683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139" r:id="rId1"/>
    <p:sldLayoutId id="2147491140" r:id="rId2"/>
    <p:sldLayoutId id="2147491141" r:id="rId3"/>
    <p:sldLayoutId id="2147491142" r:id="rId4"/>
    <p:sldLayoutId id="2147491143" r:id="rId5"/>
    <p:sldLayoutId id="2147491144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anose="05020102010507070707" pitchFamily="18" charset="2"/>
        <a:buChar char=""/>
        <a:defRPr sz="21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34A586E-AA4A-49D4-B238-E96B9A42ABBE}" type="datetimeFigureOut">
              <a:rPr kumimoji="0" lang="ru-RU">
                <a:solidFill>
                  <a:prstClr val="black">
                    <a:tint val="75000"/>
                  </a:prstClr>
                </a:solidFill>
                <a:latin typeface="Garamond" pitchFamily="18" charset="0"/>
              </a:rPr>
              <a:pPr>
                <a:defRPr/>
              </a:pPr>
              <a:t>17.11.2023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Garamond" pitchFamily="18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kumimoji="0" lang="ru-RU">
              <a:solidFill>
                <a:prstClr val="black">
                  <a:tint val="75000"/>
                </a:prstClr>
              </a:solidFill>
              <a:latin typeface="Garamond" pitchFamily="18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8EFEED0-1292-48AC-90B9-4DBFB1EF817F}" type="slidenum">
              <a:rPr kumimoji="0" lang="ru-RU">
                <a:solidFill>
                  <a:prstClr val="black">
                    <a:tint val="75000"/>
                  </a:prstClr>
                </a:solidFill>
                <a:latin typeface="Garamond" pitchFamily="18" charset="0"/>
              </a:rPr>
              <a:pPr>
                <a:defRPr/>
              </a:pPr>
              <a:t>‹#›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Garamond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17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270" r:id="rId1"/>
    <p:sldLayoutId id="2147491271" r:id="rId2"/>
    <p:sldLayoutId id="2147491272" r:id="rId3"/>
    <p:sldLayoutId id="2147491273" r:id="rId4"/>
    <p:sldLayoutId id="2147491274" r:id="rId5"/>
    <p:sldLayoutId id="2147491275" r:id="rId6"/>
    <p:sldLayoutId id="2147491276" r:id="rId7"/>
    <p:sldLayoutId id="2147491277" r:id="rId8"/>
    <p:sldLayoutId id="2147491278" r:id="rId9"/>
    <p:sldLayoutId id="2147491279" r:id="rId10"/>
    <p:sldLayoutId id="214749128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B90C39-CE44-4FFE-A1AB-2C53A8D98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40455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404" imgH="405" progId="TCLayout.ActiveDocument.1">
                  <p:embed/>
                </p:oleObj>
              </mc:Choice>
              <mc:Fallback>
                <p:oleObj name="Слайд think-cell" r:id="rId14" imgW="404" imgH="405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00B90C39-CE44-4FFE-A1AB-2C53A8D98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290" name="Group 2"/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569347" name="Rectangle 3"/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48" name="Rectangle 4"/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kumimoji="0" lang="ru-RU">
                <a:latin typeface="Times New Roman" charset="0"/>
              </a:endParaRPr>
            </a:p>
          </p:txBody>
        </p:sp>
      </p:grpSp>
      <p:grpSp>
        <p:nvGrpSpPr>
          <p:cNvPr id="12291" name="Group 5"/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569350" name="Rectangle 6"/>
            <p:cNvSpPr>
              <a:spLocks noChangeArrowheads="1"/>
            </p:cNvSpPr>
            <p:nvPr/>
          </p:nvSpPr>
          <p:spPr bwMode="auto">
            <a:xfrm rot="-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1" name="Rectangle 7"/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2" name="Group 8"/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569353" name="Rectangle 9"/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4" name="Rectangle 10"/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3" name="Group 11"/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569356" name="Rectangle 12"/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57" name="Rectangle 13"/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2294" name="Group 14"/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569359" name="Rectangle 15"/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69360" name="Rectangle 16"/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229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2296" name="Rectangle 1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69363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400">
                <a:latin typeface="Times New Roman" charset="0"/>
              </a:defRPr>
            </a:lvl1pPr>
          </a:lstStyle>
          <a:p>
            <a:pPr>
              <a:defRPr/>
            </a:pPr>
            <a:fld id="{FF96BD75-5F98-4402-B15A-35A3E0790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513158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2707" r:id="rId1"/>
    <p:sldLayoutId id="2147492708" r:id="rId2"/>
    <p:sldLayoutId id="2147492709" r:id="rId3"/>
    <p:sldLayoutId id="2147492710" r:id="rId4"/>
    <p:sldLayoutId id="2147492711" r:id="rId5"/>
    <p:sldLayoutId id="2147492712" r:id="rId6"/>
    <p:sldLayoutId id="2147492713" r:id="rId7"/>
    <p:sldLayoutId id="2147492714" r:id="rId8"/>
    <p:sldLayoutId id="2147492715" r:id="rId9"/>
    <p:sldLayoutId id="2147492716" r:id="rId10"/>
    <p:sldLayoutId id="2147492717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>
            <a:extLst>
              <a:ext uri="{FF2B5EF4-FFF2-40B4-BE49-F238E27FC236}">
                <a16:creationId xmlns:a16="http://schemas.microsoft.com/office/drawing/2014/main" id="{56EAEF01-A3DB-45D5-B2B2-0289B1BB26C0}"/>
              </a:ext>
            </a:extLst>
          </p:cNvPr>
          <p:cNvGrpSpPr>
            <a:grpSpLocks/>
          </p:cNvGrpSpPr>
          <p:nvPr/>
        </p:nvGrpSpPr>
        <p:grpSpPr bwMode="auto">
          <a:xfrm>
            <a:off x="177801" y="230192"/>
            <a:ext cx="203200" cy="6503987"/>
            <a:chOff x="112" y="145"/>
            <a:chExt cx="128" cy="4097"/>
          </a:xfrm>
        </p:grpSpPr>
        <p:sp>
          <p:nvSpPr>
            <p:cNvPr id="1044" name="Rectangle 3">
              <a:extLst>
                <a:ext uri="{FF2B5EF4-FFF2-40B4-BE49-F238E27FC236}">
                  <a16:creationId xmlns:a16="http://schemas.microsoft.com/office/drawing/2014/main" id="{B4BF60BA-5B14-4210-B73C-701DC5CEF85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045" name="Rectangle 4">
              <a:extLst>
                <a:ext uri="{FF2B5EF4-FFF2-40B4-BE49-F238E27FC236}">
                  <a16:creationId xmlns:a16="http://schemas.microsoft.com/office/drawing/2014/main" id="{29AB9E29-7385-4EC3-BE42-F13C9EF11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kumimoji="0" lang="ru-RU" altLang="ru-RU" sz="1350">
                <a:latin typeface="Times New Roman" pitchFamily="18" charset="0"/>
              </a:endParaRPr>
            </a:p>
          </p:txBody>
        </p:sp>
      </p:grpSp>
      <p:grpSp>
        <p:nvGrpSpPr>
          <p:cNvPr id="1027" name="Group 5">
            <a:extLst>
              <a:ext uri="{FF2B5EF4-FFF2-40B4-BE49-F238E27FC236}">
                <a16:creationId xmlns:a16="http://schemas.microsoft.com/office/drawing/2014/main" id="{8D9860BE-5744-4372-89AF-DAB315A50B78}"/>
              </a:ext>
            </a:extLst>
          </p:cNvPr>
          <p:cNvGrpSpPr>
            <a:grpSpLocks/>
          </p:cNvGrpSpPr>
          <p:nvPr/>
        </p:nvGrpSpPr>
        <p:grpSpPr bwMode="auto">
          <a:xfrm>
            <a:off x="8793165" y="220667"/>
            <a:ext cx="198437" cy="6408737"/>
            <a:chOff x="5539" y="139"/>
            <a:chExt cx="125" cy="4037"/>
          </a:xfrm>
        </p:grpSpPr>
        <p:sp>
          <p:nvSpPr>
            <p:cNvPr id="1042" name="Rectangle 6">
              <a:extLst>
                <a:ext uri="{FF2B5EF4-FFF2-40B4-BE49-F238E27FC236}">
                  <a16:creationId xmlns:a16="http://schemas.microsoft.com/office/drawing/2014/main" id="{8932FA57-E337-4A0E-8656-89AB4653A42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043" name="Rectangle 7">
              <a:extLst>
                <a:ext uri="{FF2B5EF4-FFF2-40B4-BE49-F238E27FC236}">
                  <a16:creationId xmlns:a16="http://schemas.microsoft.com/office/drawing/2014/main" id="{D47DC57C-9551-42CB-AFFB-957584B5B1B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pSp>
        <p:nvGrpSpPr>
          <p:cNvPr id="1028" name="Group 8">
            <a:extLst>
              <a:ext uri="{FF2B5EF4-FFF2-40B4-BE49-F238E27FC236}">
                <a16:creationId xmlns:a16="http://schemas.microsoft.com/office/drawing/2014/main" id="{90A87530-437B-4800-AF2F-2328259154CA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040" name="Rectangle 9">
              <a:extLst>
                <a:ext uri="{FF2B5EF4-FFF2-40B4-BE49-F238E27FC236}">
                  <a16:creationId xmlns:a16="http://schemas.microsoft.com/office/drawing/2014/main" id="{E994F3AD-34BC-4005-B741-FCB7D536AC2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041" name="Rectangle 10">
              <a:extLst>
                <a:ext uri="{FF2B5EF4-FFF2-40B4-BE49-F238E27FC236}">
                  <a16:creationId xmlns:a16="http://schemas.microsoft.com/office/drawing/2014/main" id="{5C7E18A2-8611-455B-8EC9-858E51816A3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pSp>
        <p:nvGrpSpPr>
          <p:cNvPr id="1029" name="Group 11">
            <a:extLst>
              <a:ext uri="{FF2B5EF4-FFF2-40B4-BE49-F238E27FC236}">
                <a16:creationId xmlns:a16="http://schemas.microsoft.com/office/drawing/2014/main" id="{9437B435-AF1E-4051-B2E2-440764992213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4"/>
            <a:ext cx="8745538" cy="161925"/>
            <a:chOff x="48" y="111"/>
            <a:chExt cx="5509" cy="102"/>
          </a:xfrm>
        </p:grpSpPr>
        <p:sp>
          <p:nvSpPr>
            <p:cNvPr id="1038" name="Rectangle 12">
              <a:extLst>
                <a:ext uri="{FF2B5EF4-FFF2-40B4-BE49-F238E27FC236}">
                  <a16:creationId xmlns:a16="http://schemas.microsoft.com/office/drawing/2014/main" id="{9C0CEC30-C974-4412-98F2-8A8404DBC8F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039" name="Rectangle 13">
              <a:extLst>
                <a:ext uri="{FF2B5EF4-FFF2-40B4-BE49-F238E27FC236}">
                  <a16:creationId xmlns:a16="http://schemas.microsoft.com/office/drawing/2014/main" id="{677CD84D-613B-484C-BD9D-752D76ABDE8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grpSp>
        <p:nvGrpSpPr>
          <p:cNvPr id="1030" name="Group 14">
            <a:extLst>
              <a:ext uri="{FF2B5EF4-FFF2-40B4-BE49-F238E27FC236}">
                <a16:creationId xmlns:a16="http://schemas.microsoft.com/office/drawing/2014/main" id="{BCDD9BCA-5A91-4311-8F89-7DE8DED4176A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4"/>
            <a:ext cx="8745537" cy="161925"/>
            <a:chOff x="45" y="111"/>
            <a:chExt cx="5509" cy="102"/>
          </a:xfrm>
        </p:grpSpPr>
        <p:sp>
          <p:nvSpPr>
            <p:cNvPr id="1036" name="Rectangle 15">
              <a:extLst>
                <a:ext uri="{FF2B5EF4-FFF2-40B4-BE49-F238E27FC236}">
                  <a16:creationId xmlns:a16="http://schemas.microsoft.com/office/drawing/2014/main" id="{2BA6EB1B-D6DB-4FC1-B54D-192BBA48787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  <p:sp>
          <p:nvSpPr>
            <p:cNvPr id="1037" name="Rectangle 16">
              <a:extLst>
                <a:ext uri="{FF2B5EF4-FFF2-40B4-BE49-F238E27FC236}">
                  <a16:creationId xmlns:a16="http://schemas.microsoft.com/office/drawing/2014/main" id="{2A821E3A-5FD0-4B4C-961F-E82B00AF26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 wrap="none" anchor="ctr"/>
            <a:lstStyle>
              <a:lvl1pPr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350"/>
            </a:p>
          </p:txBody>
        </p:sp>
      </p:grpSp>
      <p:sp>
        <p:nvSpPr>
          <p:cNvPr id="1031" name="Rectangle 17">
            <a:extLst>
              <a:ext uri="{FF2B5EF4-FFF2-40B4-BE49-F238E27FC236}">
                <a16:creationId xmlns:a16="http://schemas.microsoft.com/office/drawing/2014/main" id="{266B1F13-1C21-4E72-8DAB-D59FE379774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2" name="Rectangle 18">
            <a:extLst>
              <a:ext uri="{FF2B5EF4-FFF2-40B4-BE49-F238E27FC236}">
                <a16:creationId xmlns:a16="http://schemas.microsoft.com/office/drawing/2014/main" id="{C7172B18-F2F0-4384-9E79-53A0CC74B08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DBC880F2-D237-4B30-AE04-CFB43E0C6AF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788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BCE3914E-00A1-4D78-A1AF-857400E9F8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788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9C39F030-4E37-4862-9B4C-E65939DC33E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788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A1F8D0A-21BD-40C7-9D87-7617CCECDF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9597542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2719" r:id="rId1"/>
    <p:sldLayoutId id="2147492720" r:id="rId2"/>
    <p:sldLayoutId id="2147492721" r:id="rId3"/>
    <p:sldLayoutId id="2147492722" r:id="rId4"/>
    <p:sldLayoutId id="2147492723" r:id="rId5"/>
    <p:sldLayoutId id="2147492724" r:id="rId6"/>
    <p:sldLayoutId id="2147492725" r:id="rId7"/>
    <p:sldLayoutId id="2147492726" r:id="rId8"/>
    <p:sldLayoutId id="2147492727" r:id="rId9"/>
    <p:sldLayoutId id="2147492728" r:id="rId10"/>
    <p:sldLayoutId id="2147492729" r:id="rId11"/>
    <p:sldLayoutId id="2147492730" r:id="rId12"/>
    <p:sldLayoutId id="2147492731" r:id="rId13"/>
    <p:sldLayoutId id="2147492732" r:id="rId14"/>
    <p:sldLayoutId id="2147492733" r:id="rId15"/>
    <p:sldLayoutId id="2147492734" r:id="rId16"/>
    <p:sldLayoutId id="2147492735" r:id="rId17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pitchFamily="34" charset="0"/>
        </a:defRPr>
      </a:lvl5pPr>
      <a:lvl6pPr marL="257175" algn="l" rtl="0" fontAlgn="base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Tahoma" pitchFamily="34" charset="0"/>
        </a:defRPr>
      </a:lvl6pPr>
      <a:lvl7pPr marL="514350" algn="l" rtl="0" fontAlgn="base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Tahoma" pitchFamily="34" charset="0"/>
        </a:defRPr>
      </a:lvl7pPr>
      <a:lvl8pPr marL="771525" algn="l" rtl="0" fontAlgn="base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Tahoma" pitchFamily="34" charset="0"/>
        </a:defRPr>
      </a:lvl8pPr>
      <a:lvl9pPr marL="1028700" algn="l" rtl="0" fontAlgn="base"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Tahoma" pitchFamily="34" charset="0"/>
        </a:defRPr>
      </a:lvl9pPr>
    </p:titleStyle>
    <p:bodyStyle>
      <a:lvl1pPr marL="192881" indent="-192881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1575">
          <a:solidFill>
            <a:schemeClr val="tx1"/>
          </a:solidFill>
          <a:latin typeface="+mn-lt"/>
        </a:defRPr>
      </a:lvl2pPr>
      <a:lvl3pPr marL="642938" indent="-128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350">
          <a:solidFill>
            <a:schemeClr val="tx1"/>
          </a:solidFill>
          <a:latin typeface="+mn-lt"/>
        </a:defRPr>
      </a:lvl3pPr>
      <a:lvl4pPr marL="900113" indent="-128588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1125">
          <a:solidFill>
            <a:schemeClr val="tx1"/>
          </a:solidFill>
          <a:latin typeface="+mn-lt"/>
        </a:defRPr>
      </a:lvl4pPr>
      <a:lvl5pPr marL="1157288" indent="-128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1125">
          <a:solidFill>
            <a:schemeClr val="tx1"/>
          </a:solidFill>
          <a:latin typeface="+mn-lt"/>
        </a:defRPr>
      </a:lvl5pPr>
      <a:lvl6pPr marL="1414463" indent="-1285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125">
          <a:solidFill>
            <a:schemeClr val="tx1"/>
          </a:solidFill>
          <a:latin typeface="+mn-lt"/>
        </a:defRPr>
      </a:lvl6pPr>
      <a:lvl7pPr marL="1671638" indent="-1285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125">
          <a:solidFill>
            <a:schemeClr val="tx1"/>
          </a:solidFill>
          <a:latin typeface="+mn-lt"/>
        </a:defRPr>
      </a:lvl7pPr>
      <a:lvl8pPr marL="1928813" indent="-1285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125">
          <a:solidFill>
            <a:schemeClr val="tx1"/>
          </a:solidFill>
          <a:latin typeface="+mn-lt"/>
        </a:defRPr>
      </a:lvl8pPr>
      <a:lvl9pPr marL="2185988" indent="-1285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1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D0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>
            <a:extLst>
              <a:ext uri="{FF2B5EF4-FFF2-40B4-BE49-F238E27FC236}">
                <a16:creationId xmlns:a16="http://schemas.microsoft.com/office/drawing/2014/main" id="{69B3D3F8-3E41-D2DB-2C18-022111FB41C4}"/>
              </a:ext>
            </a:extLst>
          </p:cNvPr>
          <p:cNvGrpSpPr>
            <a:grpSpLocks/>
          </p:cNvGrpSpPr>
          <p:nvPr/>
        </p:nvGrpSpPr>
        <p:grpSpPr bwMode="auto">
          <a:xfrm>
            <a:off x="177800" y="230188"/>
            <a:ext cx="203200" cy="6503987"/>
            <a:chOff x="112" y="145"/>
            <a:chExt cx="128" cy="4097"/>
          </a:xfrm>
        </p:grpSpPr>
        <p:sp>
          <p:nvSpPr>
            <p:cNvPr id="1044" name="Rectangle 3">
              <a:extLst>
                <a:ext uri="{FF2B5EF4-FFF2-40B4-BE49-F238E27FC236}">
                  <a16:creationId xmlns:a16="http://schemas.microsoft.com/office/drawing/2014/main" id="{332E51B3-4B56-2718-09A4-874546F5BFF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92" y="162"/>
              <a:ext cx="48" cy="408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45" name="Rectangle 4">
              <a:extLst>
                <a:ext uri="{FF2B5EF4-FFF2-40B4-BE49-F238E27FC236}">
                  <a16:creationId xmlns:a16="http://schemas.microsoft.com/office/drawing/2014/main" id="{03929375-30A0-27AF-F2C8-0B939B8A15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" y="145"/>
              <a:ext cx="48" cy="3941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endParaRPr kumimoji="0" lang="ru-RU" altLang="ru-RU">
                <a:latin typeface="Times New Roman" panose="02020603050405020304" pitchFamily="18" charset="0"/>
              </a:endParaRPr>
            </a:p>
          </p:txBody>
        </p:sp>
      </p:grpSp>
      <p:grpSp>
        <p:nvGrpSpPr>
          <p:cNvPr id="1027" name="Group 5">
            <a:extLst>
              <a:ext uri="{FF2B5EF4-FFF2-40B4-BE49-F238E27FC236}">
                <a16:creationId xmlns:a16="http://schemas.microsoft.com/office/drawing/2014/main" id="{CD98CD95-B48A-296D-A2A2-DBE0B93088C9}"/>
              </a:ext>
            </a:extLst>
          </p:cNvPr>
          <p:cNvGrpSpPr>
            <a:grpSpLocks/>
          </p:cNvGrpSpPr>
          <p:nvPr/>
        </p:nvGrpSpPr>
        <p:grpSpPr bwMode="auto">
          <a:xfrm>
            <a:off x="8793163" y="220663"/>
            <a:ext cx="198437" cy="6408737"/>
            <a:chOff x="5539" y="139"/>
            <a:chExt cx="125" cy="4037"/>
          </a:xfrm>
        </p:grpSpPr>
        <p:sp>
          <p:nvSpPr>
            <p:cNvPr id="1042" name="Rectangle 6">
              <a:extLst>
                <a:ext uri="{FF2B5EF4-FFF2-40B4-BE49-F238E27FC236}">
                  <a16:creationId xmlns:a16="http://schemas.microsoft.com/office/drawing/2014/main" id="{685E1496-BA7B-A08F-446D-4CA5953D021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5621" y="139"/>
              <a:ext cx="43" cy="398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43" name="Rectangle 7">
              <a:extLst>
                <a:ext uri="{FF2B5EF4-FFF2-40B4-BE49-F238E27FC236}">
                  <a16:creationId xmlns:a16="http://schemas.microsoft.com/office/drawing/2014/main" id="{D47C98D3-2BF9-A19D-6402-DE9107EFCD1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5539" y="240"/>
              <a:ext cx="49" cy="3936"/>
            </a:xfrm>
            <a:prstGeom prst="rect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1028" name="Group 8">
            <a:extLst>
              <a:ext uri="{FF2B5EF4-FFF2-40B4-BE49-F238E27FC236}">
                <a16:creationId xmlns:a16="http://schemas.microsoft.com/office/drawing/2014/main" id="{2E64711B-258E-0C0C-909D-792E0DAA2E44}"/>
              </a:ext>
            </a:extLst>
          </p:cNvPr>
          <p:cNvGrpSpPr>
            <a:grpSpLocks/>
          </p:cNvGrpSpPr>
          <p:nvPr/>
        </p:nvGrpSpPr>
        <p:grpSpPr bwMode="auto">
          <a:xfrm>
            <a:off x="412750" y="6477000"/>
            <a:ext cx="8686800" cy="228600"/>
            <a:chOff x="260" y="4080"/>
            <a:chExt cx="5472" cy="144"/>
          </a:xfrm>
        </p:grpSpPr>
        <p:sp>
          <p:nvSpPr>
            <p:cNvPr id="1040" name="Rectangle 9">
              <a:extLst>
                <a:ext uri="{FF2B5EF4-FFF2-40B4-BE49-F238E27FC236}">
                  <a16:creationId xmlns:a16="http://schemas.microsoft.com/office/drawing/2014/main" id="{20D84E36-8311-13BD-330B-BE156329D61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72" y="1368"/>
              <a:ext cx="48" cy="5472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41" name="Rectangle 10">
              <a:extLst>
                <a:ext uri="{FF2B5EF4-FFF2-40B4-BE49-F238E27FC236}">
                  <a16:creationId xmlns:a16="http://schemas.microsoft.com/office/drawing/2014/main" id="{3F99B63A-20FD-3C2F-9E68-702D8577BE4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914" y="1522"/>
              <a:ext cx="48" cy="5355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1029" name="Group 11">
            <a:extLst>
              <a:ext uri="{FF2B5EF4-FFF2-40B4-BE49-F238E27FC236}">
                <a16:creationId xmlns:a16="http://schemas.microsoft.com/office/drawing/2014/main" id="{8EBEA3C0-0E4D-60DE-23D2-8087962CE3F2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76213"/>
            <a:ext cx="8745538" cy="161925"/>
            <a:chOff x="48" y="111"/>
            <a:chExt cx="5509" cy="102"/>
          </a:xfrm>
        </p:grpSpPr>
        <p:sp>
          <p:nvSpPr>
            <p:cNvPr id="1038" name="Rectangle 12">
              <a:extLst>
                <a:ext uri="{FF2B5EF4-FFF2-40B4-BE49-F238E27FC236}">
                  <a16:creationId xmlns:a16="http://schemas.microsoft.com/office/drawing/2014/main" id="{118E494E-30DA-E99F-360A-C07B4F75C54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3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39" name="Rectangle 13">
              <a:extLst>
                <a:ext uri="{FF2B5EF4-FFF2-40B4-BE49-F238E27FC236}">
                  <a16:creationId xmlns:a16="http://schemas.microsoft.com/office/drawing/2014/main" id="{8C379181-0820-8919-DAFC-38F4B396199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3" y="-2624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1030" name="Group 14">
            <a:extLst>
              <a:ext uri="{FF2B5EF4-FFF2-40B4-BE49-F238E27FC236}">
                <a16:creationId xmlns:a16="http://schemas.microsoft.com/office/drawing/2014/main" id="{318C1E49-EBB3-9F1F-D84B-95E94201EBFB}"/>
              </a:ext>
            </a:extLst>
          </p:cNvPr>
          <p:cNvGrpSpPr>
            <a:grpSpLocks/>
          </p:cNvGrpSpPr>
          <p:nvPr/>
        </p:nvGrpSpPr>
        <p:grpSpPr bwMode="auto">
          <a:xfrm>
            <a:off x="71438" y="176213"/>
            <a:ext cx="8745537" cy="161925"/>
            <a:chOff x="45" y="111"/>
            <a:chExt cx="5509" cy="102"/>
          </a:xfrm>
        </p:grpSpPr>
        <p:sp>
          <p:nvSpPr>
            <p:cNvPr id="1036" name="Rectangle 15">
              <a:extLst>
                <a:ext uri="{FF2B5EF4-FFF2-40B4-BE49-F238E27FC236}">
                  <a16:creationId xmlns:a16="http://schemas.microsoft.com/office/drawing/2014/main" id="{39D3D562-68A2-4828-1EFA-C7BA8307223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850" y="-2491"/>
              <a:ext cx="37" cy="5371"/>
            </a:xfrm>
            <a:prstGeom prst="rect">
              <a:avLst/>
            </a:prstGeom>
            <a:gradFill rotWithShape="0">
              <a:gsLst>
                <a:gs pos="0">
                  <a:schemeClr val="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037" name="Rectangle 16">
              <a:extLst>
                <a:ext uri="{FF2B5EF4-FFF2-40B4-BE49-F238E27FC236}">
                  <a16:creationId xmlns:a16="http://schemas.microsoft.com/office/drawing/2014/main" id="{A905B68F-6031-5943-8334-2576A66FBDB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2781" y="-2625"/>
              <a:ext cx="38" cy="5509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sp>
        <p:nvSpPr>
          <p:cNvPr id="1031" name="Rectangle 17">
            <a:extLst>
              <a:ext uri="{FF2B5EF4-FFF2-40B4-BE49-F238E27FC236}">
                <a16:creationId xmlns:a16="http://schemas.microsoft.com/office/drawing/2014/main" id="{72018A04-287E-8E1F-2EF4-0CD1290DC2C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2" name="Rectangle 18">
            <a:extLst>
              <a:ext uri="{FF2B5EF4-FFF2-40B4-BE49-F238E27FC236}">
                <a16:creationId xmlns:a16="http://schemas.microsoft.com/office/drawing/2014/main" id="{48AD788E-2DB7-488C-6D8C-5A7C560B07F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752600"/>
            <a:ext cx="777240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69363" name="Rectangle 19">
            <a:extLst>
              <a:ext uri="{FF2B5EF4-FFF2-40B4-BE49-F238E27FC236}">
                <a16:creationId xmlns:a16="http://schemas.microsoft.com/office/drawing/2014/main" id="{EF9C49DB-BC96-9A36-463F-4A5DBA46B06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4" name="Rectangle 20">
            <a:extLst>
              <a:ext uri="{FF2B5EF4-FFF2-40B4-BE49-F238E27FC236}">
                <a16:creationId xmlns:a16="http://schemas.microsoft.com/office/drawing/2014/main" id="{EA82638B-001B-D163-8458-5092293DB3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0198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kumimoji="0" sz="14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9365" name="Rectangle 21">
            <a:extLst>
              <a:ext uri="{FF2B5EF4-FFF2-40B4-BE49-F238E27FC236}">
                <a16:creationId xmlns:a16="http://schemas.microsoft.com/office/drawing/2014/main" id="{997CD2CD-D13B-33A3-ECA8-9470E6484E9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019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400" smtClean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0714A71-CD12-4763-9FB8-73EFB6ED039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2588747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92862" r:id="rId1"/>
    <p:sldLayoutId id="2147492863" r:id="rId2"/>
    <p:sldLayoutId id="2147492864" r:id="rId3"/>
    <p:sldLayoutId id="2147492865" r:id="rId4"/>
    <p:sldLayoutId id="2147492866" r:id="rId5"/>
    <p:sldLayoutId id="2147492867" r:id="rId6"/>
    <p:sldLayoutId id="2147492868" r:id="rId7"/>
    <p:sldLayoutId id="2147492869" r:id="rId8"/>
    <p:sldLayoutId id="2147492870" r:id="rId9"/>
    <p:sldLayoutId id="2147492871" r:id="rId10"/>
    <p:sldLayoutId id="2147492872" r:id="rId11"/>
    <p:sldLayoutId id="2147492873" r:id="rId12"/>
    <p:sldLayoutId id="2147492875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jpeg"/><Relationship Id="rId9" Type="http://schemas.openxmlformats.org/officeDocument/2006/relationships/image" Target="../media/image3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7.xml"/><Relationship Id="rId4" Type="http://schemas.openxmlformats.org/officeDocument/2006/relationships/image" Target="../media/image5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9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0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8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8.xml"/><Relationship Id="rId4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8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9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2.xml"/><Relationship Id="rId4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0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8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8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5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7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5.xml"/><Relationship Id="rId4" Type="http://schemas.openxmlformats.org/officeDocument/2006/relationships/chart" Target="../charts/char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gif"/><Relationship Id="rId1" Type="http://schemas.openxmlformats.org/officeDocument/2006/relationships/slideLayout" Target="../slideLayouts/slideLayout23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7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9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91.xml"/><Relationship Id="rId4" Type="http://schemas.openxmlformats.org/officeDocument/2006/relationships/image" Target="../media/image100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0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0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97.xml"/><Relationship Id="rId4" Type="http://schemas.openxmlformats.org/officeDocument/2006/relationships/image" Target="../media/image10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97.xml"/><Relationship Id="rId4" Type="http://schemas.openxmlformats.org/officeDocument/2006/relationships/image" Target="../media/image108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12.xml"/><Relationship Id="rId5" Type="http://schemas.openxmlformats.org/officeDocument/2006/relationships/image" Target="../media/image113.png"/><Relationship Id="rId4" Type="http://schemas.openxmlformats.org/officeDocument/2006/relationships/image" Target="../media/image112.jpe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0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32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32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3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32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wmf"/><Relationship Id="rId1" Type="http://schemas.openxmlformats.org/officeDocument/2006/relationships/slideLayout" Target="../slideLayouts/slideLayout9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47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3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6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97.xml"/><Relationship Id="rId5" Type="http://schemas.openxmlformats.org/officeDocument/2006/relationships/image" Target="../media/image125.png"/><Relationship Id="rId4" Type="http://schemas.openxmlformats.org/officeDocument/2006/relationships/image" Target="../media/image124.jpe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9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9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8.xml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337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32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33.png"/><Relationship Id="rId9" Type="http://schemas.openxmlformats.org/officeDocument/2006/relationships/image" Target="../media/image134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137.jpeg"/><Relationship Id="rId5" Type="http://schemas.openxmlformats.org/officeDocument/2006/relationships/image" Target="../media/image136.jpeg"/><Relationship Id="rId4" Type="http://schemas.openxmlformats.org/officeDocument/2006/relationships/image" Target="../media/image135.wmf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9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9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eg"/><Relationship Id="rId1" Type="http://schemas.openxmlformats.org/officeDocument/2006/relationships/slideLayout" Target="../slideLayouts/slideLayout9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33.xml"/><Relationship Id="rId5" Type="http://schemas.openxmlformats.org/officeDocument/2006/relationships/image" Target="../media/image144.jpeg"/><Relationship Id="rId4" Type="http://schemas.openxmlformats.org/officeDocument/2006/relationships/image" Target="../media/image143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33.xml"/><Relationship Id="rId4" Type="http://schemas.openxmlformats.org/officeDocument/2006/relationships/image" Target="../media/image144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jpe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390.xml"/><Relationship Id="rId4" Type="http://schemas.openxmlformats.org/officeDocument/2006/relationships/image" Target="../media/image148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41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411.xml"/><Relationship Id="rId4" Type="http://schemas.openxmlformats.org/officeDocument/2006/relationships/image" Target="../media/image153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3.xml"/><Relationship Id="rId4" Type="http://schemas.openxmlformats.org/officeDocument/2006/relationships/image" Target="../media/image15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52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3.xml"/><Relationship Id="rId6" Type="http://schemas.openxmlformats.org/officeDocument/2006/relationships/image" Target="../media/image159.jpeg"/><Relationship Id="rId5" Type="http://schemas.openxmlformats.org/officeDocument/2006/relationships/image" Target="../media/image158.png"/><Relationship Id="rId4" Type="http://schemas.openxmlformats.org/officeDocument/2006/relationships/image" Target="../media/image157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424.xml"/><Relationship Id="rId4" Type="http://schemas.openxmlformats.org/officeDocument/2006/relationships/image" Target="../media/image166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424.xml"/><Relationship Id="rId4" Type="http://schemas.openxmlformats.org/officeDocument/2006/relationships/image" Target="../media/image168.pn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jpeg"/><Relationship Id="rId3" Type="http://schemas.openxmlformats.org/officeDocument/2006/relationships/image" Target="../media/image12.png"/><Relationship Id="rId7" Type="http://schemas.openxmlformats.org/officeDocument/2006/relationships/image" Target="../media/image170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82.xml"/><Relationship Id="rId6" Type="http://schemas.openxmlformats.org/officeDocument/2006/relationships/image" Target="../media/image169.jpeg"/><Relationship Id="rId11" Type="http://schemas.openxmlformats.org/officeDocument/2006/relationships/image" Target="../media/image143.jpeg"/><Relationship Id="rId5" Type="http://schemas.openxmlformats.org/officeDocument/2006/relationships/image" Target="../media/image14.png"/><Relationship Id="rId10" Type="http://schemas.openxmlformats.org/officeDocument/2006/relationships/image" Target="../media/image144.jpeg"/><Relationship Id="rId4" Type="http://schemas.openxmlformats.org/officeDocument/2006/relationships/image" Target="../media/image13.png"/><Relationship Id="rId9" Type="http://schemas.openxmlformats.org/officeDocument/2006/relationships/image" Target="../media/image172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jpeg"/><Relationship Id="rId2" Type="http://schemas.openxmlformats.org/officeDocument/2006/relationships/image" Target="../media/image173.jpeg"/><Relationship Id="rId1" Type="http://schemas.openxmlformats.org/officeDocument/2006/relationships/slideLayout" Target="../slideLayouts/slideLayout49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jpeg"/><Relationship Id="rId2" Type="http://schemas.openxmlformats.org/officeDocument/2006/relationships/image" Target="../media/image175.jpeg"/><Relationship Id="rId1" Type="http://schemas.openxmlformats.org/officeDocument/2006/relationships/slideLayout" Target="../slideLayouts/slideLayout505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49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jpeg"/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497.xml"/><Relationship Id="rId4" Type="http://schemas.openxmlformats.org/officeDocument/2006/relationships/image" Target="../media/image180.jpe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jpe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497.xml"/><Relationship Id="rId4" Type="http://schemas.openxmlformats.org/officeDocument/2006/relationships/image" Target="../media/image18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image" Target="../media/image184.jpeg"/><Relationship Id="rId1" Type="http://schemas.openxmlformats.org/officeDocument/2006/relationships/slideLayout" Target="../slideLayouts/slideLayout505.xml"/><Relationship Id="rId4" Type="http://schemas.openxmlformats.org/officeDocument/2006/relationships/image" Target="../media/image186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hyperlink" Target="https://wciom.ru/presentation/prezentacii/materinstvo-i-zhenskoe-blagopoluchie" TargetMode="External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531.xml"/><Relationship Id="rId4" Type="http://schemas.openxmlformats.org/officeDocument/2006/relationships/image" Target="../media/image188.jpe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hyperlink" Target="https://wciom.ru/presentation/prezentacii/materinstvo-i-zhenskoe-blagopoluchie" TargetMode="External"/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505.xml"/><Relationship Id="rId4" Type="http://schemas.openxmlformats.org/officeDocument/2006/relationships/image" Target="../media/image190.pn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505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505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505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38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jpeg"/><Relationship Id="rId7" Type="http://schemas.openxmlformats.org/officeDocument/2006/relationships/image" Target="../media/image201.jpeg"/><Relationship Id="rId2" Type="http://schemas.openxmlformats.org/officeDocument/2006/relationships/image" Target="../media/image196.jpeg"/><Relationship Id="rId1" Type="http://schemas.openxmlformats.org/officeDocument/2006/relationships/slideLayout" Target="../slideLayouts/slideLayout180.xml"/><Relationship Id="rId6" Type="http://schemas.openxmlformats.org/officeDocument/2006/relationships/image" Target="../media/image200.jpeg"/><Relationship Id="rId5" Type="http://schemas.openxmlformats.org/officeDocument/2006/relationships/image" Target="../media/image199.jpeg"/><Relationship Id="rId4" Type="http://schemas.openxmlformats.org/officeDocument/2006/relationships/image" Target="../media/image198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image" Target="../media/image20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7.xml"/><Relationship Id="rId4" Type="http://schemas.openxmlformats.org/officeDocument/2006/relationships/image" Target="../media/image5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771" name="Rectangle 2051">
            <a:extLst>
              <a:ext uri="{FF2B5EF4-FFF2-40B4-BE49-F238E27FC236}">
                <a16:creationId xmlns:a16="http://schemas.microsoft.com/office/drawing/2014/main" id="{CA07E045-0790-4A94-AB94-C02446D194AD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38164" y="3106376"/>
            <a:ext cx="8515294" cy="576064"/>
          </a:xfrm>
        </p:spPr>
        <p:txBody>
          <a:bodyPr/>
          <a:lstStyle/>
          <a:p>
            <a:pPr algn="ctr" eaLnBrk="1" hangingPunct="1">
              <a:spcBef>
                <a:spcPct val="30000"/>
              </a:spcBef>
              <a:defRPr/>
            </a:pPr>
            <a:b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жирение, стресс и анемия у женщин. </a:t>
            </a:r>
            <a:b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еалии </a:t>
            </a:r>
            <a:r>
              <a:rPr lang="en-US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XXI</a:t>
            </a: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века – «против» деторождения. </a:t>
            </a:r>
            <a:b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а чьей Вы стороне?</a:t>
            </a:r>
            <a:endParaRPr lang="ru-RU" sz="28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8">
            <a:extLst>
              <a:ext uri="{FF2B5EF4-FFF2-40B4-BE49-F238E27FC236}">
                <a16:creationId xmlns:a16="http://schemas.microsoft.com/office/drawing/2014/main" id="{0BC11BF7-56C8-42E5-AE08-CC19DE1A4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7704" y="260648"/>
            <a:ext cx="3816424" cy="1441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2400">
                <a:solidFill>
                  <a:srgbClr val="FFFFFF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"/>
              <a:defRPr sz="2200">
                <a:solidFill>
                  <a:srgbClr val="FFFFFF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2000">
                <a:solidFill>
                  <a:srgbClr val="FFFFFF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>
                <a:solidFill>
                  <a:srgbClr val="FFFFFF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Российский университет дружбы народов имени Патриса Лумумбы</a:t>
            </a:r>
          </a:p>
          <a:p>
            <a:pPr marL="0" marR="0" lvl="0" indent="0" algn="l" defTabSz="914400" rtl="0" eaLnBrk="1" fontAlgn="base" latinLnBrk="0" hangingPunct="1">
              <a:lnSpc>
                <a:spcPct val="10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Медицинский институт </a:t>
            </a:r>
          </a:p>
          <a:p>
            <a:pPr marL="0" marR="0" lvl="0" indent="0" algn="l" defTabSz="914400" rtl="0" eaLnBrk="1" fontAlgn="base" latinLnBrk="0" hangingPunct="1">
              <a:lnSpc>
                <a:spcPct val="10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Кафедра акушерства и гинекологии                с курсом перинатологии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E5FA319-2CD7-4E2B-BD35-AECCAD0CF7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672" y="227582"/>
            <a:ext cx="1473226" cy="147322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783E89D-F366-488C-91F2-820B7E39B2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878" y="1577237"/>
            <a:ext cx="1116877" cy="504056"/>
          </a:xfrm>
          <a:prstGeom prst="rect">
            <a:avLst/>
          </a:prstGeom>
        </p:spPr>
      </p:pic>
      <p:pic>
        <p:nvPicPr>
          <p:cNvPr id="11" name="Рисунок 7">
            <a:extLst>
              <a:ext uri="{FF2B5EF4-FFF2-40B4-BE49-F238E27FC236}">
                <a16:creationId xmlns:a16="http://schemas.microsoft.com/office/drawing/2014/main" id="{5A1D439D-625B-44E9-9E20-8434A1C08F2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0177" y="4432655"/>
            <a:ext cx="1813228" cy="1203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B152187-957E-459A-921D-341159793F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8224" y="5357022"/>
            <a:ext cx="1603387" cy="1066892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5BECCD9-1F85-7828-BD20-5F17A8150D28}"/>
              </a:ext>
            </a:extLst>
          </p:cNvPr>
          <p:cNvGrpSpPr/>
          <p:nvPr/>
        </p:nvGrpSpPr>
        <p:grpSpPr>
          <a:xfrm>
            <a:off x="5648638" y="1306062"/>
            <a:ext cx="3304820" cy="730670"/>
            <a:chOff x="5419764" y="1509577"/>
            <a:chExt cx="3304820" cy="730670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0C7356B7-364E-EBF7-F2F9-94450F587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19764" y="1509577"/>
              <a:ext cx="3185556" cy="695482"/>
            </a:xfrm>
            <a:prstGeom prst="rect">
              <a:avLst/>
            </a:prstGeom>
          </p:spPr>
        </p:pic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BB2D1BD-4BE3-27C3-184A-9252BD135E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1203" y="1922339"/>
              <a:ext cx="2633381" cy="317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"/>
                <a:defRPr sz="2400">
                  <a:solidFill>
                    <a:srgbClr val="FFFFFF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"/>
                <a:defRPr sz="2200">
                  <a:solidFill>
                    <a:srgbClr val="FFFFFF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"/>
                <a:defRPr sz="2000">
                  <a:solidFill>
                    <a:srgbClr val="FFFFFF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"/>
                <a:defRPr>
                  <a:solidFill>
                    <a:srgbClr val="FFFFFF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"/>
                <a:defRPr sz="1600">
                  <a:solidFill>
                    <a:srgbClr val="FFFFFF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"/>
                <a:defRPr sz="1600">
                  <a:solidFill>
                    <a:srgbClr val="FFFFFF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"/>
                <a:defRPr sz="1600">
                  <a:solidFill>
                    <a:srgbClr val="FFFFFF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"/>
                <a:defRPr sz="1600">
                  <a:solidFill>
                    <a:srgbClr val="FFFFFF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"/>
                <a:defRPr sz="1600">
                  <a:solidFill>
                    <a:srgbClr val="FFFFFF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5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altLang="ru-RU" sz="15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uLnTx/>
                  <a:uFillTx/>
                  <a:latin typeface="Arial" charset="0"/>
                  <a:ea typeface="+mn-ea"/>
                  <a:cs typeface="+mn-cs"/>
                </a:rPr>
                <a:t>ГКБ им. В.М. Буянова</a:t>
              </a:r>
            </a:p>
          </p:txBody>
        </p:sp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05D677-F8BE-4D17-A5DE-EC37AFE8632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3253" y="4372298"/>
            <a:ext cx="938865" cy="181676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A570B0-C6A6-CF08-3E7B-AC428C65694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23" y="4030195"/>
            <a:ext cx="3556383" cy="2393719"/>
          </a:xfrm>
          <a:prstGeom prst="rect">
            <a:avLst/>
          </a:prstGeom>
        </p:spPr>
      </p:pic>
      <p:sp>
        <p:nvSpPr>
          <p:cNvPr id="10" name="Прямоугольник 8">
            <a:extLst>
              <a:ext uri="{FF2B5EF4-FFF2-40B4-BE49-F238E27FC236}">
                <a16:creationId xmlns:a16="http://schemas.microsoft.com/office/drawing/2014/main" id="{057F177D-F042-80D9-4E2E-C4AD65755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8520" y="4172840"/>
            <a:ext cx="253706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2400">
                <a:solidFill>
                  <a:srgbClr val="FFFFFF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"/>
              <a:defRPr sz="2200">
                <a:solidFill>
                  <a:srgbClr val="FFFFFF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2000">
                <a:solidFill>
                  <a:srgbClr val="FFFFFF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>
                <a:solidFill>
                  <a:srgbClr val="FFFFFF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"/>
              <a:defRPr sz="1600">
                <a:solidFill>
                  <a:srgbClr val="FFFFFF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День Матери </a:t>
            </a:r>
          </a:p>
          <a:p>
            <a:pPr marL="0" marR="0" lvl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в </a:t>
            </a:r>
            <a:r>
              <a:rPr lang="ru-RU" altLang="ru-RU" sz="1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Р</a:t>
            </a:r>
            <a:r>
              <a:rPr kumimoji="1" lang="ru-RU" alt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оссии</a:t>
            </a: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 – </a:t>
            </a:r>
          </a:p>
          <a:p>
            <a:pPr marL="0" marR="0" lvl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26 ноября </a:t>
            </a:r>
          </a:p>
          <a:p>
            <a:pPr marL="0" marR="0" lvl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</a:rPr>
              <a:t>2023 год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EEA64A5-2C0C-4F25-7AE4-679A4A9D64F1}"/>
              </a:ext>
            </a:extLst>
          </p:cNvPr>
          <p:cNvGrpSpPr/>
          <p:nvPr/>
        </p:nvGrpSpPr>
        <p:grpSpPr>
          <a:xfrm>
            <a:off x="6914762" y="153836"/>
            <a:ext cx="1945566" cy="1367573"/>
            <a:chOff x="3274506" y="463478"/>
            <a:chExt cx="1945566" cy="1367573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A1DF33A4-D3F5-2767-48F8-F6860BBCE19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4506" y="463478"/>
              <a:ext cx="1945566" cy="1367573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3E9C1CF0-BB67-B055-64A2-D7BB40A4A3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1792" y="464426"/>
              <a:ext cx="598036" cy="662644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6A2BEB-1D1A-6B55-33FF-F30DEFCCF5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7415" y="4064949"/>
            <a:ext cx="1760291" cy="2244371"/>
          </a:xfrm>
          <a:prstGeom prst="rect">
            <a:avLst/>
          </a:prstGeom>
        </p:spPr>
      </p:pic>
      <p:sp>
        <p:nvSpPr>
          <p:cNvPr id="134146" name="Заголовок 1">
            <a:extLst>
              <a:ext uri="{FF2B5EF4-FFF2-40B4-BE49-F238E27FC236}">
                <a16:creationId xmlns:a16="http://schemas.microsoft.com/office/drawing/2014/main" id="{E892D653-FFDE-4A86-A158-70128789EC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42158" y="469611"/>
            <a:ext cx="6336741" cy="990600"/>
          </a:xfrm>
        </p:spPr>
        <p:txBody>
          <a:bodyPr/>
          <a:lstStyle/>
          <a:p>
            <a:pPr algn="ctr"/>
            <a:r>
              <a:rPr lang="ru-RU" altLang="ru-RU" sz="2800" b="1" dirty="0">
                <a:solidFill>
                  <a:srgbClr val="FFFF00"/>
                </a:solidFill>
              </a:rPr>
              <a:t>Что определяет особенности</a:t>
            </a:r>
            <a:br>
              <a:rPr lang="ru-RU" altLang="ru-RU" sz="2800" b="1" dirty="0">
                <a:solidFill>
                  <a:srgbClr val="FFFF00"/>
                </a:solidFill>
              </a:rPr>
            </a:br>
            <a:r>
              <a:rPr lang="ru-RU" altLang="ru-RU" sz="2800" b="1" dirty="0">
                <a:solidFill>
                  <a:srgbClr val="FFFF00"/>
                </a:solidFill>
              </a:rPr>
              <a:t>течения беременности сегодня?</a:t>
            </a: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4F791A09-AD0B-4E5B-A050-6C0F12F3D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552" y="2039159"/>
            <a:ext cx="7529381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емия – 35% 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езни и инфекции мочеполовых путей – 16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харный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стационный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диабет– 9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нозные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сложнения – 6,4%</a:t>
            </a:r>
            <a:endParaRPr kumimoji="1" lang="ru-RU" sz="2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FFBCEE88-98EE-4076-8C75-BFBE1E4B9F9A}"/>
              </a:ext>
            </a:extLst>
          </p:cNvPr>
          <p:cNvSpPr/>
          <p:nvPr/>
        </p:nvSpPr>
        <p:spPr>
          <a:xfrm>
            <a:off x="572499" y="1843944"/>
            <a:ext cx="8202168" cy="2321654"/>
          </a:xfrm>
          <a:prstGeom prst="round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2C091E5E-1361-C52D-F12C-3D2F3C36D9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1298" y="5601423"/>
            <a:ext cx="4881815" cy="70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marL="273050" marR="0" lvl="0" indent="-2730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cs typeface="Arial" pitchFamily="34" charset="0"/>
              </a:rPr>
              <a:t>обильные менструации (избыточная кровопотеря)</a:t>
            </a:r>
          </a:p>
          <a:p>
            <a:pPr marL="273050" marR="0" lvl="0" indent="-2730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cs typeface="Arial" pitchFamily="34" charset="0"/>
              </a:rPr>
              <a:t>ожирение или дефицит массы тела</a:t>
            </a:r>
          </a:p>
          <a:p>
            <a:pPr marL="273050" marR="0" lvl="0" indent="-2730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9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latin typeface="Arial" pitchFamily="34" charset="0"/>
                <a:cs typeface="Arial" pitchFamily="34" charset="0"/>
              </a:rPr>
              <a:t>хронический стресс</a:t>
            </a:r>
            <a:endParaRPr kumimoji="0" lang="ru-RU" sz="1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highlight>
                <a:srgbClr val="800000"/>
              </a:highlight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Стрелка: вниз 2">
            <a:extLst>
              <a:ext uri="{FF2B5EF4-FFF2-40B4-BE49-F238E27FC236}">
                <a16:creationId xmlns:a16="http://schemas.microsoft.com/office/drawing/2014/main" id="{23E93B4D-6774-1146-2D8F-5F9493A0FE1C}"/>
              </a:ext>
            </a:extLst>
          </p:cNvPr>
          <p:cNvSpPr/>
          <p:nvPr/>
        </p:nvSpPr>
        <p:spPr bwMode="auto">
          <a:xfrm rot="10800000">
            <a:off x="3954055" y="4309150"/>
            <a:ext cx="719528" cy="480362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0FCDF082-9AE5-BC98-6FAA-6EACB6ADB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89" y="4478633"/>
            <a:ext cx="2148327" cy="1437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D41292B-EFAE-E31F-D6D3-B9A2A277B7E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1856" y="928825"/>
            <a:ext cx="2155850" cy="143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974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Прямоугольник 2">
            <a:extLst>
              <a:ext uri="{FF2B5EF4-FFF2-40B4-BE49-F238E27FC236}">
                <a16:creationId xmlns:a16="http://schemas.microsoft.com/office/drawing/2014/main" id="{0A5B9E2F-00DF-5342-516F-EBACA04471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976" y="2564904"/>
            <a:ext cx="7704137" cy="245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Болезнь - это здоровая реакция организма на наш нездоровый 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з жизни» </a:t>
            </a:r>
            <a:endParaRPr kumimoji="1" lang="ru-RU" altLang="ru-RU" sz="2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100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                                         Л.С. Сухоруков</a:t>
            </a:r>
          </a:p>
        </p:txBody>
      </p:sp>
      <p:pic>
        <p:nvPicPr>
          <p:cNvPr id="13315" name="Picture 2" descr="http://im6-tub-ru.yandex.net/i?id=205499197-37-72&amp;n=21">
            <a:extLst>
              <a:ext uri="{FF2B5EF4-FFF2-40B4-BE49-F238E27FC236}">
                <a16:creationId xmlns:a16="http://schemas.microsoft.com/office/drawing/2014/main" id="{06CDEBC0-EC87-8FFC-74F8-C76878F6EC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5462" y="549275"/>
            <a:ext cx="1390651" cy="1871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4" name="AutoShape 14">
            <a:extLst>
              <a:ext uri="{FF2B5EF4-FFF2-40B4-BE49-F238E27FC236}">
                <a16:creationId xmlns:a16="http://schemas.microsoft.com/office/drawing/2014/main" id="{6158B9CC-C25C-56A6-F664-6EFA5DC2D6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457200"/>
            <a:ext cx="6705600" cy="5348288"/>
          </a:xfrm>
          <a:prstGeom prst="triangle">
            <a:avLst>
              <a:gd name="adj" fmla="val 50000"/>
            </a:avLst>
          </a:prstGeom>
          <a:solidFill>
            <a:srgbClr val="0099CC"/>
          </a:solidFill>
          <a:ln w="9525">
            <a:noFill/>
            <a:miter lim="800000"/>
            <a:headEnd/>
            <a:tailEnd/>
          </a:ln>
          <a:effectLst>
            <a:outerShdw dist="8980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6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651" name="Rectangle 8">
            <a:extLst>
              <a:ext uri="{FF2B5EF4-FFF2-40B4-BE49-F238E27FC236}">
                <a16:creationId xmlns:a16="http://schemas.microsoft.com/office/drawing/2014/main" id="{A94BEAB7-3DE6-2CDB-ABC7-8575CF0FEB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88" y="5876925"/>
            <a:ext cx="8305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Пирамида оптимального здоровья</a:t>
            </a:r>
          </a:p>
        </p:txBody>
      </p:sp>
      <p:grpSp>
        <p:nvGrpSpPr>
          <p:cNvPr id="2" name="Group 15">
            <a:extLst>
              <a:ext uri="{FF2B5EF4-FFF2-40B4-BE49-F238E27FC236}">
                <a16:creationId xmlns:a16="http://schemas.microsoft.com/office/drawing/2014/main" id="{A321DBF8-CD5D-3EA5-DF17-FB44455B187E}"/>
              </a:ext>
            </a:extLst>
          </p:cNvPr>
          <p:cNvGrpSpPr>
            <a:grpSpLocks/>
          </p:cNvGrpSpPr>
          <p:nvPr/>
        </p:nvGrpSpPr>
        <p:grpSpPr bwMode="auto">
          <a:xfrm>
            <a:off x="2324100" y="4953000"/>
            <a:ext cx="4495800" cy="762000"/>
            <a:chOff x="1464" y="3120"/>
            <a:chExt cx="2832" cy="480"/>
          </a:xfrm>
        </p:grpSpPr>
        <p:sp>
          <p:nvSpPr>
            <p:cNvPr id="27665" name="Oval 7">
              <a:extLst>
                <a:ext uri="{FF2B5EF4-FFF2-40B4-BE49-F238E27FC236}">
                  <a16:creationId xmlns:a16="http://schemas.microsoft.com/office/drawing/2014/main" id="{BBECB0CD-C5F5-48E2-E684-CCB04164D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" y="3120"/>
              <a:ext cx="480" cy="480"/>
            </a:xfrm>
            <a:prstGeom prst="ellipse">
              <a:avLst/>
            </a:prstGeom>
            <a:solidFill>
              <a:schemeClr val="hlink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66" name="Rectangle 9">
              <a:extLst>
                <a:ext uri="{FF2B5EF4-FFF2-40B4-BE49-F238E27FC236}">
                  <a16:creationId xmlns:a16="http://schemas.microsoft.com/office/drawing/2014/main" id="{E3D32A9B-FE04-7236-9F73-4C9A393D9B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4" y="3168"/>
              <a:ext cx="2832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sz="2800" b="1" i="0" u="none" strike="noStrike" kern="1200" cap="none" spc="0" normalizeH="0" baseline="0" noProof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енетика и образ жизни</a:t>
              </a:r>
            </a:p>
          </p:txBody>
        </p:sp>
      </p:grpSp>
      <p:grpSp>
        <p:nvGrpSpPr>
          <p:cNvPr id="3" name="Group 16">
            <a:extLst>
              <a:ext uri="{FF2B5EF4-FFF2-40B4-BE49-F238E27FC236}">
                <a16:creationId xmlns:a16="http://schemas.microsoft.com/office/drawing/2014/main" id="{0EE7D5F9-EABA-47C7-C190-B1083F12D17D}"/>
              </a:ext>
            </a:extLst>
          </p:cNvPr>
          <p:cNvGrpSpPr>
            <a:grpSpLocks/>
          </p:cNvGrpSpPr>
          <p:nvPr/>
        </p:nvGrpSpPr>
        <p:grpSpPr bwMode="auto">
          <a:xfrm>
            <a:off x="2324100" y="4114800"/>
            <a:ext cx="4495800" cy="762000"/>
            <a:chOff x="1464" y="2592"/>
            <a:chExt cx="2832" cy="480"/>
          </a:xfrm>
        </p:grpSpPr>
        <p:sp>
          <p:nvSpPr>
            <p:cNvPr id="27663" name="Oval 6">
              <a:extLst>
                <a:ext uri="{FF2B5EF4-FFF2-40B4-BE49-F238E27FC236}">
                  <a16:creationId xmlns:a16="http://schemas.microsoft.com/office/drawing/2014/main" id="{B60AE026-755E-BD1D-0234-473F7F042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" y="2592"/>
              <a:ext cx="480" cy="480"/>
            </a:xfrm>
            <a:prstGeom prst="ellipse">
              <a:avLst/>
            </a:prstGeom>
            <a:solidFill>
              <a:srgbClr val="FFFF66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64" name="Rectangle 10">
              <a:extLst>
                <a:ext uri="{FF2B5EF4-FFF2-40B4-BE49-F238E27FC236}">
                  <a16:creationId xmlns:a16="http://schemas.microsoft.com/office/drawing/2014/main" id="{6F7A20AB-7186-8CA4-F221-D167FDEE3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4" y="2661"/>
              <a:ext cx="2832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sz="2400" b="1" i="0" u="none" strike="noStrike" kern="1200" cap="none" spc="0" normalizeH="0" baseline="0" noProof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итамины и минералы</a:t>
              </a:r>
            </a:p>
          </p:txBody>
        </p:sp>
      </p:grpSp>
      <p:grpSp>
        <p:nvGrpSpPr>
          <p:cNvPr id="4" name="Group 17">
            <a:extLst>
              <a:ext uri="{FF2B5EF4-FFF2-40B4-BE49-F238E27FC236}">
                <a16:creationId xmlns:a16="http://schemas.microsoft.com/office/drawing/2014/main" id="{201690C0-0963-0017-4809-54127D02B4C7}"/>
              </a:ext>
            </a:extLst>
          </p:cNvPr>
          <p:cNvGrpSpPr>
            <a:grpSpLocks/>
          </p:cNvGrpSpPr>
          <p:nvPr/>
        </p:nvGrpSpPr>
        <p:grpSpPr bwMode="auto">
          <a:xfrm>
            <a:off x="2324100" y="3276600"/>
            <a:ext cx="4495800" cy="762000"/>
            <a:chOff x="1464" y="2064"/>
            <a:chExt cx="2832" cy="480"/>
          </a:xfrm>
        </p:grpSpPr>
        <p:sp>
          <p:nvSpPr>
            <p:cNvPr id="27661" name="Oval 5">
              <a:extLst>
                <a:ext uri="{FF2B5EF4-FFF2-40B4-BE49-F238E27FC236}">
                  <a16:creationId xmlns:a16="http://schemas.microsoft.com/office/drawing/2014/main" id="{B66E3D1F-AFE6-B1AE-D158-9B6A75016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" y="2064"/>
              <a:ext cx="480" cy="480"/>
            </a:xfrm>
            <a:prstGeom prst="ellipse">
              <a:avLst/>
            </a:prstGeom>
            <a:solidFill>
              <a:srgbClr val="CCFF66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62" name="Rectangle 11">
              <a:extLst>
                <a:ext uri="{FF2B5EF4-FFF2-40B4-BE49-F238E27FC236}">
                  <a16:creationId xmlns:a16="http://schemas.microsoft.com/office/drawing/2014/main" id="{AA631BF6-632E-8873-0B70-9842AA9DCC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4" y="2142"/>
              <a:ext cx="2832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ейро-гормоны</a:t>
              </a:r>
              <a:r>
                <a:rPr kumimoji="1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и предшественники</a:t>
              </a:r>
            </a:p>
          </p:txBody>
        </p:sp>
      </p:grpSp>
      <p:grpSp>
        <p:nvGrpSpPr>
          <p:cNvPr id="5" name="Group 21">
            <a:extLst>
              <a:ext uri="{FF2B5EF4-FFF2-40B4-BE49-F238E27FC236}">
                <a16:creationId xmlns:a16="http://schemas.microsoft.com/office/drawing/2014/main" id="{6683784A-B56D-D9CB-A5A4-DDB6A174F1AA}"/>
              </a:ext>
            </a:extLst>
          </p:cNvPr>
          <p:cNvGrpSpPr>
            <a:grpSpLocks/>
          </p:cNvGrpSpPr>
          <p:nvPr/>
        </p:nvGrpSpPr>
        <p:grpSpPr bwMode="auto">
          <a:xfrm>
            <a:off x="2976563" y="2362200"/>
            <a:ext cx="3190875" cy="762000"/>
            <a:chOff x="2112" y="1488"/>
            <a:chExt cx="1536" cy="480"/>
          </a:xfrm>
        </p:grpSpPr>
        <p:sp>
          <p:nvSpPr>
            <p:cNvPr id="27659" name="Oval 4">
              <a:extLst>
                <a:ext uri="{FF2B5EF4-FFF2-40B4-BE49-F238E27FC236}">
                  <a16:creationId xmlns:a16="http://schemas.microsoft.com/office/drawing/2014/main" id="{0947F67C-13E9-503A-DF46-6DBC90AB4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" y="1488"/>
              <a:ext cx="480" cy="480"/>
            </a:xfrm>
            <a:prstGeom prst="ellipse">
              <a:avLst/>
            </a:prstGeom>
            <a:solidFill>
              <a:srgbClr val="66CC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60" name="Rectangle 12">
              <a:extLst>
                <a:ext uri="{FF2B5EF4-FFF2-40B4-BE49-F238E27FC236}">
                  <a16:creationId xmlns:a16="http://schemas.microsoft.com/office/drawing/2014/main" id="{139F6480-FE1B-494B-B682-85E8E85EFC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" y="1584"/>
              <a:ext cx="1536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ормоны и </a:t>
              </a:r>
              <a:r>
                <a:rPr kumimoji="1" lang="ru-RU" sz="2300" b="1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едшественники</a:t>
              </a:r>
            </a:p>
          </p:txBody>
        </p:sp>
      </p:grpSp>
      <p:grpSp>
        <p:nvGrpSpPr>
          <p:cNvPr id="6" name="Group 19">
            <a:extLst>
              <a:ext uri="{FF2B5EF4-FFF2-40B4-BE49-F238E27FC236}">
                <a16:creationId xmlns:a16="http://schemas.microsoft.com/office/drawing/2014/main" id="{0815DBB4-E6CF-0A05-3E44-0BCFD63BF28C}"/>
              </a:ext>
            </a:extLst>
          </p:cNvPr>
          <p:cNvGrpSpPr>
            <a:grpSpLocks/>
          </p:cNvGrpSpPr>
          <p:nvPr/>
        </p:nvGrpSpPr>
        <p:grpSpPr bwMode="auto">
          <a:xfrm>
            <a:off x="3276600" y="1524000"/>
            <a:ext cx="2590800" cy="762000"/>
            <a:chOff x="2256" y="960"/>
            <a:chExt cx="1248" cy="480"/>
          </a:xfrm>
        </p:grpSpPr>
        <p:sp>
          <p:nvSpPr>
            <p:cNvPr id="27657" name="Oval 3">
              <a:extLst>
                <a:ext uri="{FF2B5EF4-FFF2-40B4-BE49-F238E27FC236}">
                  <a16:creationId xmlns:a16="http://schemas.microsoft.com/office/drawing/2014/main" id="{4BCAC413-C5AA-26F9-F851-FFDA8186D3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" y="960"/>
              <a:ext cx="480" cy="480"/>
            </a:xfrm>
            <a:prstGeom prst="ellipse">
              <a:avLst/>
            </a:prstGeom>
            <a:solidFill>
              <a:srgbClr val="CCCC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srgbClr val="F8F8F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658" name="Rectangle 13">
              <a:extLst>
                <a:ext uri="{FF2B5EF4-FFF2-40B4-BE49-F238E27FC236}">
                  <a16:creationId xmlns:a16="http://schemas.microsoft.com/office/drawing/2014/main" id="{BC563E6A-BD00-DBFC-0623-C3C20F18A2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6" y="1056"/>
              <a:ext cx="1248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ru-RU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едикаменты</a:t>
              </a:r>
            </a:p>
          </p:txBody>
        </p: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545AE1B-188F-8218-1DCF-A3E672373CC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334" y="544511"/>
            <a:ext cx="1720608" cy="1720608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769DC52-A4C2-B2A6-4E44-1E513F05B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4968" y="505037"/>
            <a:ext cx="2590801" cy="1727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531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19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3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Заголовок 1">
            <a:extLst>
              <a:ext uri="{FF2B5EF4-FFF2-40B4-BE49-F238E27FC236}">
                <a16:creationId xmlns:a16="http://schemas.microsoft.com/office/drawing/2014/main" id="{E892D653-FFDE-4A86-A158-70128789EC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11163" y="528791"/>
            <a:ext cx="8208986" cy="990600"/>
          </a:xfrm>
        </p:spPr>
        <p:txBody>
          <a:bodyPr/>
          <a:lstStyle/>
          <a:p>
            <a:pPr algn="ctr"/>
            <a:r>
              <a:rPr lang="ru-RU" altLang="ru-RU" sz="3300" b="1" dirty="0">
                <a:solidFill>
                  <a:srgbClr val="FFFF00"/>
                </a:solidFill>
              </a:rPr>
              <a:t>Что более всего может повлиять                 на состояние здоровья человека?</a:t>
            </a: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4F791A09-AD0B-4E5B-A050-6C0F12F3D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528" y="2125277"/>
            <a:ext cx="7056437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нетика – 15-20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ающая среда – 20-25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 и образ жизни – 50-55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дицина, здравоохранение – 10-15%</a:t>
            </a:r>
            <a:endParaRPr kumimoji="1" lang="ru-RU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FFBCEE88-98EE-4076-8C75-BFBE1E4B9F9A}"/>
              </a:ext>
            </a:extLst>
          </p:cNvPr>
          <p:cNvSpPr/>
          <p:nvPr/>
        </p:nvSpPr>
        <p:spPr>
          <a:xfrm>
            <a:off x="882831" y="2010017"/>
            <a:ext cx="7056436" cy="2321654"/>
          </a:xfrm>
          <a:prstGeom prst="round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2C091E5E-1361-C52D-F12C-3D2F3C36D9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1640" y="5589240"/>
            <a:ext cx="6207516" cy="70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ЭТО ЕГО ПИТАНИЕ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И ФИЗИЧЕСКАЯ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АКТИВНОСТЬ</a:t>
            </a:r>
          </a:p>
        </p:txBody>
      </p:sp>
      <p:sp>
        <p:nvSpPr>
          <p:cNvPr id="3" name="Стрелка: вниз 2">
            <a:extLst>
              <a:ext uri="{FF2B5EF4-FFF2-40B4-BE49-F238E27FC236}">
                <a16:creationId xmlns:a16="http://schemas.microsoft.com/office/drawing/2014/main" id="{23E93B4D-6774-1146-2D8F-5F9493A0FE1C}"/>
              </a:ext>
            </a:extLst>
          </p:cNvPr>
          <p:cNvSpPr/>
          <p:nvPr/>
        </p:nvSpPr>
        <p:spPr bwMode="auto">
          <a:xfrm rot="10800000">
            <a:off x="3995936" y="4437112"/>
            <a:ext cx="719528" cy="480362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D04B18-46B6-F297-FB85-F359C94DF8F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8923" y="4757243"/>
            <a:ext cx="2309813" cy="153987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E5A272B-89BD-0CBE-660C-A62800494B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64" y="4705389"/>
            <a:ext cx="2211099" cy="156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08514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AE44582-9DA3-7AF5-5F93-9AC5EF525F6B}"/>
              </a:ext>
            </a:extLst>
          </p:cNvPr>
          <p:cNvSpPr txBox="1"/>
          <p:nvPr/>
        </p:nvSpPr>
        <p:spPr>
          <a:xfrm>
            <a:off x="2123728" y="332656"/>
            <a:ext cx="6798038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FDF19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итание - </a:t>
            </a:r>
            <a:r>
              <a:rPr kumimoji="1" lang="ru-RU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ложный процесс поступления, переваривания, всасывания и усвоения в организме пищевых веществ, необходимых для покрытия его энергетических трат, построения и возобновления клеток и тканей тела                             </a:t>
            </a: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 регуляции функций организма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837052C1-E29D-5EBF-CD23-3ADA0F05A5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528" y="3501008"/>
            <a:ext cx="7870673" cy="81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цион 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состав пищи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жим 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ема пищи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раст, пол, период жизни 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ременные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                  кормящие матери, климактерий</a:t>
            </a: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ие сопутствующих заболеваний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ru-RU" sz="21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00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ru-RU" sz="2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 жизни и окружающая среда</a:t>
            </a:r>
          </a:p>
        </p:txBody>
      </p:sp>
      <p:sp>
        <p:nvSpPr>
          <p:cNvPr id="9" name="Стрелка: вниз 8">
            <a:extLst>
              <a:ext uri="{FF2B5EF4-FFF2-40B4-BE49-F238E27FC236}">
                <a16:creationId xmlns:a16="http://schemas.microsoft.com/office/drawing/2014/main" id="{77659DDD-F5D9-A504-0229-7757D55C4F8B}"/>
              </a:ext>
            </a:extLst>
          </p:cNvPr>
          <p:cNvSpPr/>
          <p:nvPr/>
        </p:nvSpPr>
        <p:spPr bwMode="auto">
          <a:xfrm>
            <a:off x="7524328" y="2647278"/>
            <a:ext cx="285547" cy="2644250"/>
          </a:xfrm>
          <a:prstGeom prst="downArrow">
            <a:avLst/>
          </a:prstGeom>
          <a:solidFill>
            <a:srgbClr val="C00000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4276" name="Picture 4">
            <a:extLst>
              <a:ext uri="{FF2B5EF4-FFF2-40B4-BE49-F238E27FC236}">
                <a16:creationId xmlns:a16="http://schemas.microsoft.com/office/drawing/2014/main" id="{DFCA2D13-D600-93B6-2989-5672B55455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332656"/>
            <a:ext cx="1781511" cy="219417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D651D0E-E245-AFBD-E758-65945EE04E56}"/>
              </a:ext>
            </a:extLst>
          </p:cNvPr>
          <p:cNvSpPr txBox="1"/>
          <p:nvPr/>
        </p:nvSpPr>
        <p:spPr>
          <a:xfrm>
            <a:off x="3575154" y="6295908"/>
            <a:ext cx="512663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https://бмэ.орг/index.php/ПИТ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8963F1A-8196-2C59-5972-9C2CA0C80EA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055" y="2708920"/>
            <a:ext cx="2052729" cy="136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6182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589EE5F5-F59A-4FEB-8A66-200176588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979" y="1991832"/>
            <a:ext cx="8561051" cy="1535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61938" indent="-261938">
              <a:spcBef>
                <a:spcPct val="20000"/>
              </a:spcBef>
              <a:buClr>
                <a:srgbClr val="A50021"/>
              </a:buClr>
              <a:buSzPct val="7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666699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SzPct val="6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1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нщины с ожирением беременеют в 2 раза дольше </a:t>
            </a:r>
            <a:r>
              <a:rPr kumimoji="1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рмовесных</a:t>
            </a:r>
            <a:r>
              <a:rPr kumimoji="1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а с дефицитом массы тела – в 4 раза дольше</a:t>
            </a:r>
          </a:p>
          <a:p>
            <a:pPr marL="0" marR="0" lvl="0" indent="0" defTabSz="914400" rtl="0" eaLnBrk="1" fontAlgn="base" latinLnBrk="0" hangingPunct="1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kumimoji="1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330" name="Rectangle 2">
            <a:extLst>
              <a:ext uri="{FF2B5EF4-FFF2-40B4-BE49-F238E27FC236}">
                <a16:creationId xmlns:a16="http://schemas.microsoft.com/office/drawing/2014/main" id="{66693238-96CA-4BEA-922D-739D48237DC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65340" y="449958"/>
            <a:ext cx="6918247" cy="808454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тройства питания </a:t>
            </a:r>
            <a:br>
              <a:rPr 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ют проблемы для зачатия!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7EC82D1-62EB-467A-9626-8FE8271F151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782" y="305935"/>
            <a:ext cx="1565277" cy="156527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152E8FD-0BA1-A5BA-33B0-4AABF2F912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995" y="3851461"/>
            <a:ext cx="7066146" cy="2562851"/>
          </a:xfrm>
          <a:prstGeom prst="rect">
            <a:avLst/>
          </a:prstGeom>
        </p:spPr>
      </p:pic>
      <p:sp>
        <p:nvSpPr>
          <p:cNvPr id="4" name="Стрелка: вверх 3">
            <a:extLst>
              <a:ext uri="{FF2B5EF4-FFF2-40B4-BE49-F238E27FC236}">
                <a16:creationId xmlns:a16="http://schemas.microsoft.com/office/drawing/2014/main" id="{A3735219-C166-7183-5863-FD4B765010E7}"/>
              </a:ext>
            </a:extLst>
          </p:cNvPr>
          <p:cNvSpPr/>
          <p:nvPr/>
        </p:nvSpPr>
        <p:spPr bwMode="auto">
          <a:xfrm>
            <a:off x="3347864" y="1318418"/>
            <a:ext cx="648072" cy="630134"/>
          </a:xfrm>
          <a:prstGeom prst="up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77C9B89F-768F-0699-9A79-9998F886A0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2944" y="3107224"/>
            <a:ext cx="6918247" cy="55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r>
              <a:rPr kumimoji="0" lang="ru-RU" sz="2400" b="1" kern="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елка здорового питания: </a:t>
            </a:r>
          </a:p>
        </p:txBody>
      </p:sp>
    </p:spTree>
    <p:extLst>
      <p:ext uri="{BB962C8B-B14F-4D97-AF65-F5344CB8AC3E}">
        <p14:creationId xmlns:p14="http://schemas.microsoft.com/office/powerpoint/2010/main" val="698548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9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330" grpId="0"/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F75277-7998-4F97-8DA8-4AFCA884E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28514" y="417314"/>
            <a:ext cx="7772400" cy="574675"/>
          </a:xfrm>
        </p:spPr>
        <p:txBody>
          <a:bodyPr/>
          <a:lstStyle/>
          <a:p>
            <a:pPr algn="ctr">
              <a:defRPr/>
            </a:pPr>
            <a:r>
              <a:rPr lang="ru-RU" sz="2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то нужно получать с пищей?                         </a:t>
            </a:r>
          </a:p>
        </p:txBody>
      </p:sp>
      <p:sp>
        <p:nvSpPr>
          <p:cNvPr id="3" name="Содержимое 2">
            <a:extLst>
              <a:ext uri="{FF2B5EF4-FFF2-40B4-BE49-F238E27FC236}">
                <a16:creationId xmlns:a16="http://schemas.microsoft.com/office/drawing/2014/main" id="{5B59AA58-84E0-4495-B9E9-25CFA8EA8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739" y="1333500"/>
            <a:ext cx="8442682" cy="4191000"/>
          </a:xfrm>
        </p:spPr>
        <p:txBody>
          <a:bodyPr/>
          <a:lstStyle/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лиевую кислоту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нижение риска тромбозов,                                                         пороков развития плода и рака) 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скорбиновую кислоту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нижение частоты инфарктов,                                    инсультов, рака разной локализации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итамин Е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нижение риска инфарктов миокарда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итамин А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здоровье кожи и слизистых оболочек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итамин Д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поддержание иммунитета, снижение риска рака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льций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замедление потери костной массы, снижение риска                             переломов бедра, сахарного диабета 2 типа и повышения                       артериального давления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7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етчатку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нижение риска ишемической болезни сердца                                                  и смертности от нее)</a:t>
            </a:r>
          </a:p>
          <a:p>
            <a:pPr marL="171450" indent="-171450">
              <a:spcBef>
                <a:spcPts val="1200"/>
              </a:spcBef>
              <a:defRPr/>
            </a:pPr>
            <a:r>
              <a:rPr lang="ru-RU" sz="1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мега-3 кислоты 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нижение уровня триглицеридов, профилактика нарушений сердечного ритма и тромбозов) </a:t>
            </a:r>
            <a:r>
              <a:rPr lang="ru-RU" sz="17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МНОГОЕ ДРУГОЕ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</a:t>
            </a:r>
          </a:p>
          <a:p>
            <a:pPr marL="0" indent="0">
              <a:spcBef>
                <a:spcPts val="1200"/>
              </a:spcBef>
              <a:buNone/>
              <a:defRPr/>
            </a:pPr>
            <a:endParaRPr lang="ru-RU" sz="17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C5B6EF2-29F7-BBCB-AEEB-35AA7055462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576" y="274379"/>
            <a:ext cx="2010373" cy="1426429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801E1D-9BA4-43F5-A0A5-93F61F1714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02772"/>
            <a:ext cx="7772400" cy="720725"/>
          </a:xfrm>
        </p:spPr>
        <p:txBody>
          <a:bodyPr/>
          <a:lstStyle/>
          <a:p>
            <a:pPr algn="ctr">
              <a:defRPr/>
            </a:pPr>
            <a:r>
              <a:rPr lang="ru-RU" sz="27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е продукты это содержат?</a:t>
            </a:r>
          </a:p>
        </p:txBody>
      </p:sp>
      <p:sp>
        <p:nvSpPr>
          <p:cNvPr id="3" name="Содержимое 2">
            <a:extLst>
              <a:ext uri="{FF2B5EF4-FFF2-40B4-BE49-F238E27FC236}">
                <a16:creationId xmlns:a16="http://schemas.microsoft.com/office/drawing/2014/main" id="{6E24A3D7-0428-4F1D-842D-983E822DA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119590"/>
            <a:ext cx="8389937" cy="4191000"/>
          </a:xfrm>
        </p:spPr>
        <p:txBody>
          <a:bodyPr/>
          <a:lstStyle/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Зелень - </a:t>
            </a:r>
            <a:r>
              <a:rPr lang="ru-RU" sz="1900" b="1" dirty="0"/>
              <a:t>петрушка, шпинат, </a:t>
            </a:r>
            <a:r>
              <a:rPr lang="ru-RU" sz="1800" b="1" dirty="0"/>
              <a:t>щавель, салат </a:t>
            </a:r>
            <a:endParaRPr lang="ru-RU" sz="1900" b="1" dirty="0"/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Овощи -</a:t>
            </a:r>
            <a:r>
              <a:rPr lang="ru-RU" sz="2100" b="1" dirty="0"/>
              <a:t> </a:t>
            </a:r>
            <a:r>
              <a:rPr lang="ru-RU" sz="1900" b="1" dirty="0"/>
              <a:t>брокколи, </a:t>
            </a:r>
            <a:r>
              <a:rPr lang="ru-RU" sz="1800" b="1" dirty="0"/>
              <a:t>сладкий перец, капуста, кабачки, огурцы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рковь, картофель</a:t>
            </a:r>
            <a:endParaRPr lang="ru-RU" sz="1900" b="1" dirty="0"/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Ягоды, фрукты </a:t>
            </a:r>
            <a:r>
              <a:rPr lang="ru-RU" sz="1900" b="1" dirty="0">
                <a:solidFill>
                  <a:srgbClr val="FFFF00"/>
                </a:solidFill>
              </a:rPr>
              <a:t>-</a:t>
            </a:r>
            <a:r>
              <a:rPr lang="ru-RU" sz="1900" b="1" dirty="0"/>
              <a:t> </a:t>
            </a:r>
            <a:r>
              <a:rPr lang="ru-RU" sz="1800" b="1" dirty="0"/>
              <a:t>шиповник, смородина, клюква, брусника, земляника, дыня, лимон, апельсин, бананы,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урага, </a:t>
            </a:r>
            <a:endParaRPr lang="ru-RU" sz="1900" b="1" dirty="0"/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Мясо, печень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ыба</a:t>
            </a:r>
            <a:r>
              <a:rPr lang="ru-RU" sz="1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особенно морская)</a:t>
            </a:r>
            <a:r>
              <a:rPr lang="ru-RU" sz="1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морепродукты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Молоко и молокопродукты </a:t>
            </a:r>
            <a:r>
              <a:rPr lang="ru-RU" sz="1900" b="1" dirty="0">
                <a:solidFill>
                  <a:srgbClr val="FFFF00"/>
                </a:solidFill>
              </a:rPr>
              <a:t>– </a:t>
            </a:r>
            <a:r>
              <a:rPr lang="ru-RU" sz="1900" b="1" dirty="0"/>
              <a:t>творог, кефир, йогурты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Яйца 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</a:rPr>
              <a:t>Пивные дрожжи</a:t>
            </a:r>
            <a:r>
              <a:rPr lang="ru-RU" sz="2100" b="1" dirty="0">
                <a:solidFill>
                  <a:srgbClr val="FFFF00"/>
                </a:solidFill>
                <a:sym typeface="Wingdings" pitchFamily="2" charset="2"/>
              </a:rPr>
              <a:t></a:t>
            </a:r>
            <a:r>
              <a:rPr lang="ru-RU" sz="2100" b="1" dirty="0">
                <a:solidFill>
                  <a:srgbClr val="FFFF00"/>
                </a:solidFill>
              </a:rPr>
              <a:t>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ехи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тительное масло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рупы -</a:t>
            </a:r>
            <a:r>
              <a:rPr lang="ru-RU" sz="1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всяная, гречневая, ячневая </a:t>
            </a:r>
          </a:p>
          <a:p>
            <a:pPr marL="266700" indent="-266700">
              <a:spcBef>
                <a:spcPts val="600"/>
              </a:spcBef>
              <a:defRPr/>
            </a:pPr>
            <a:r>
              <a:rPr lang="ru-RU" sz="2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ьное зерно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7994676-8FEB-1731-71E6-F6A971ED9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8812" y="4509120"/>
            <a:ext cx="2581275" cy="180975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>
            <a:extLst>
              <a:ext uri="{FF2B5EF4-FFF2-40B4-BE49-F238E27FC236}">
                <a16:creationId xmlns:a16="http://schemas.microsoft.com/office/drawing/2014/main" id="{759F24B5-CC8D-4AE6-9595-F524F05FEF0D}"/>
              </a:ext>
            </a:extLst>
          </p:cNvPr>
          <p:cNvSpPr>
            <a:spLocks noChangeArrowheads="1"/>
          </p:cNvSpPr>
          <p:nvPr/>
        </p:nvSpPr>
        <p:spPr bwMode="invGray">
          <a:xfrm>
            <a:off x="683568" y="2852936"/>
            <a:ext cx="7632848" cy="2664296"/>
          </a:xfrm>
          <a:prstGeom prst="roundRect">
            <a:avLst>
              <a:gd name="adj" fmla="val 16667"/>
            </a:avLst>
          </a:prstGeom>
          <a:solidFill>
            <a:srgbClr val="00953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2075" tIns="46038" rIns="92075" bIns="46038" anchor="ctr"/>
          <a:lstStyle/>
          <a:p>
            <a:pPr marL="0" marR="0" lvl="0" indent="0" algn="ctr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Женщинам (и мужчинам!) репродуктивного возраста рекомендуется прием фолиевой кислоты в дозе </a:t>
            </a:r>
            <a:r>
              <a:rPr kumimoji="1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400 </a:t>
            </a: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мкг/сутки и диета, богатая </a:t>
            </a:r>
            <a:r>
              <a:rPr kumimoji="1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фолатами</a:t>
            </a:r>
            <a:endParaRPr kumimoji="1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65541" name="Picture 2" descr="http://omaterinstve.ru/uploads/manual/planiruem%20beremennost.jpg">
            <a:extLst>
              <a:ext uri="{FF2B5EF4-FFF2-40B4-BE49-F238E27FC236}">
                <a16:creationId xmlns:a16="http://schemas.microsoft.com/office/drawing/2014/main" id="{B50F9062-1813-4A4C-BA93-F3F1E5176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7400" y="476250"/>
            <a:ext cx="2781300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BEEBA4-B883-D88E-8651-A32F73652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0" y="1268760"/>
            <a:ext cx="4255203" cy="1215008"/>
          </a:xfrm>
        </p:spPr>
        <p:txBody>
          <a:bodyPr/>
          <a:lstStyle/>
          <a:p>
            <a:pPr algn="ctr"/>
            <a:r>
              <a:rPr lang="ru-RU" sz="3100" b="1" dirty="0" err="1">
                <a:solidFill>
                  <a:srgbClr val="FFFF00"/>
                </a:solidFill>
              </a:rPr>
              <a:t>Нутритивный</a:t>
            </a:r>
            <a:r>
              <a:rPr lang="ru-RU" sz="3100" b="1" dirty="0">
                <a:solidFill>
                  <a:srgbClr val="FFFF00"/>
                </a:solidFill>
              </a:rPr>
              <a:t> дефицит:  в фокусе                         внимания-профилактика</a:t>
            </a: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660C1047-74EB-2CA6-F585-92E6D8D7B056}"/>
              </a:ext>
            </a:extLst>
          </p:cNvPr>
          <p:cNvPicPr>
            <a:picLocks noGrp="1" noChangeAspect="1"/>
          </p:cNvPicPr>
          <p:nvPr>
            <p:ph sz="quarter" idx="1"/>
          </p:nvPr>
        </p:nvPicPr>
        <p:blipFill>
          <a:blip r:embed="rId3"/>
          <a:stretch>
            <a:fillRect/>
          </a:stretch>
        </p:blipFill>
        <p:spPr>
          <a:xfrm>
            <a:off x="457200" y="3429000"/>
            <a:ext cx="7510962" cy="2943485"/>
          </a:xfr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F7C6AA-DA0A-2234-D5DA-796E56CE02D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386" y="260648"/>
            <a:ext cx="3960440" cy="2917443"/>
          </a:xfrm>
          <a:prstGeom prst="rect">
            <a:avLst/>
          </a:prstGeom>
        </p:spPr>
      </p:pic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8791B10D-F277-585F-5612-7073A36DBC48}"/>
              </a:ext>
            </a:extLst>
          </p:cNvPr>
          <p:cNvSpPr/>
          <p:nvPr/>
        </p:nvSpPr>
        <p:spPr bwMode="auto">
          <a:xfrm>
            <a:off x="539552" y="5733256"/>
            <a:ext cx="5976664" cy="612401"/>
          </a:xfrm>
          <a:prstGeom prst="roundRect">
            <a:avLst/>
          </a:prstGeom>
          <a:noFill/>
          <a:ln w="60325" cap="flat" cmpd="sng" algn="ctr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9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985CDBDB-7CA7-4B15-1A54-7FC9CBEB87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568729"/>
            <a:ext cx="5756587" cy="1778062"/>
          </a:xfrm>
        </p:spPr>
        <p:txBody>
          <a:bodyPr/>
          <a:lstStyle/>
          <a:p>
            <a:pPr marL="0" indent="0" algn="ctr">
              <a:buNone/>
            </a:pPr>
            <a:r>
              <a:rPr lang="ru-RU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атеринство – самая трудная из работ, приносящая радость…»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9BD032-5446-8DAE-5FEE-0CB960B2F0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2387" y="279338"/>
            <a:ext cx="2427484" cy="364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Объект 2">
            <a:extLst>
              <a:ext uri="{FF2B5EF4-FFF2-40B4-BE49-F238E27FC236}">
                <a16:creationId xmlns:a16="http://schemas.microsoft.com/office/drawing/2014/main" id="{378C55BA-F75D-3C53-613B-27ED3AB308E0}"/>
              </a:ext>
            </a:extLst>
          </p:cNvPr>
          <p:cNvSpPr txBox="1">
            <a:spLocks/>
          </p:cNvSpPr>
          <p:nvPr/>
        </p:nvSpPr>
        <p:spPr bwMode="auto">
          <a:xfrm>
            <a:off x="2843808" y="4149080"/>
            <a:ext cx="5756587" cy="177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457200" indent="-457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50021"/>
              </a:buClr>
              <a:buSzPct val="7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7113" indent="-4556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+mn-lt"/>
              </a:defRPr>
            </a:lvl2pPr>
            <a:lvl3pPr marL="137001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6699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+mn-lt"/>
              </a:defRPr>
            </a:lvl3pPr>
            <a:lvl4pPr marL="171291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55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Font typeface="Wingdings" panose="05000000000000000000" pitchFamily="2" charset="2"/>
              <a:buNone/>
            </a:pPr>
            <a:r>
              <a:rPr kumimoji="0" lang="ru-RU" sz="1800" i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ьчин </a:t>
            </a:r>
            <a:r>
              <a:rPr kumimoji="0" lang="ru-RU" sz="1800" i="1" kern="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фарли</a:t>
            </a:r>
            <a:r>
              <a:rPr kumimoji="0" lang="ru-RU" sz="1800" i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0" indent="0" algn="r">
              <a:buFont typeface="Wingdings" panose="05000000000000000000" pitchFamily="2" charset="2"/>
              <a:buNone/>
            </a:pPr>
            <a:r>
              <a:rPr kumimoji="0" lang="ru-RU" sz="1800" i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ербайджанский писатель, </a:t>
            </a:r>
          </a:p>
          <a:p>
            <a:pPr marL="0" indent="0" algn="r">
              <a:buFont typeface="Wingdings" panose="05000000000000000000" pitchFamily="2" charset="2"/>
              <a:buNone/>
            </a:pPr>
            <a:r>
              <a:rPr kumimoji="0" lang="ru-RU" sz="1800" i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р современной проз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AF58448-2013-F66A-A885-B57D1FDC23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3924362"/>
            <a:ext cx="3419872" cy="2277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008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>
            <a:extLst>
              <a:ext uri="{FF2B5EF4-FFF2-40B4-BE49-F238E27FC236}">
                <a16:creationId xmlns:a16="http://schemas.microsoft.com/office/drawing/2014/main" id="{55CAA335-F827-C57E-5C4C-AF4C22D6D9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16011" y="764704"/>
            <a:ext cx="5410944" cy="868363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наете ли вы свой вес?</a:t>
            </a:r>
            <a:b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ценивают индекс массы тела (ИМТ)</a:t>
            </a:r>
          </a:p>
        </p:txBody>
      </p:sp>
      <p:graphicFrame>
        <p:nvGraphicFramePr>
          <p:cNvPr id="200724" name="Group 20">
            <a:extLst>
              <a:ext uri="{FF2B5EF4-FFF2-40B4-BE49-F238E27FC236}">
                <a16:creationId xmlns:a16="http://schemas.microsoft.com/office/drawing/2014/main" id="{B726CD84-9FB4-C203-5C66-5222DF44E2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9640973"/>
              </p:ext>
            </p:extLst>
          </p:nvPr>
        </p:nvGraphicFramePr>
        <p:xfrm>
          <a:off x="611560" y="2102480"/>
          <a:ext cx="8116429" cy="4189606"/>
        </p:xfrm>
        <a:graphic>
          <a:graphicData uri="http://schemas.openxmlformats.org/drawingml/2006/table">
            <a:tbl>
              <a:tblPr/>
              <a:tblGrid>
                <a:gridCol w="3425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81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529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148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Типы массы тела</a:t>
                      </a:r>
                    </a:p>
                  </a:txBody>
                  <a:tcPr marL="91437" marR="91437" marT="45721" marB="4572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ИМТ (кг</a:t>
                      </a:r>
                      <a:r>
                        <a:rPr kumimoji="0" lang="en-US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/</a:t>
                      </a: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м</a:t>
                      </a:r>
                      <a:r>
                        <a:rPr kumimoji="0" lang="ru-RU" sz="185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2</a:t>
                      </a: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)</a:t>
                      </a:r>
                    </a:p>
                  </a:txBody>
                  <a:tcPr marL="91437" marR="91437"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Риск сопутствующих заболеваний</a:t>
                      </a:r>
                    </a:p>
                  </a:txBody>
                  <a:tcPr marL="91437" marR="91437"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47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Дефицит массы тел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Нормальная масса тел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Избыточная масса тел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Ожирение 1 степен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Ожирение 2 степен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Ожирение 3 степени</a:t>
                      </a:r>
                    </a:p>
                  </a:txBody>
                  <a:tcPr marL="91437" marR="91437" marT="45721" marB="4572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&lt;</a:t>
                      </a: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 18,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18,5-24,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25-29,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30-34,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35-39,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  <a:cs typeface="Arial" charset="0"/>
                        </a:rPr>
                        <a:t>более 40</a:t>
                      </a:r>
                      <a:endParaRPr kumimoji="0" lang="en-US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  <a:cs typeface="Arial" charset="0"/>
                      </a:endParaRPr>
                    </a:p>
                  </a:txBody>
                  <a:tcPr marL="91437" marR="91437"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Обычны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Повышенны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Высоки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Очень высоки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850" b="1" i="0" u="none" strike="noStrike" cap="none" normalizeH="0" baseline="0" dirty="0">
                        <a:ln>
                          <a:noFill/>
                        </a:ln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+mn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+mn-lt"/>
                        </a:rPr>
                        <a:t>Чрезвычайно                высокий</a:t>
                      </a:r>
                    </a:p>
                  </a:txBody>
                  <a:tcPr marL="91437" marR="91437"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7987AC3-C550-BB49-0421-1B957182BEB4}"/>
              </a:ext>
            </a:extLst>
          </p:cNvPr>
          <p:cNvSpPr/>
          <p:nvPr/>
        </p:nvSpPr>
        <p:spPr>
          <a:xfrm>
            <a:off x="7619119" y="6318970"/>
            <a:ext cx="106362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1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ОЗ, 1997</a:t>
            </a:r>
            <a:endParaRPr kumimoji="1" lang="ru-RU" sz="1200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2" descr="http://www.telegraaf.nl/incoming/article21131282.ece/BINARY/original/obesitas.jpg">
            <a:extLst>
              <a:ext uri="{FF2B5EF4-FFF2-40B4-BE49-F238E27FC236}">
                <a16:creationId xmlns:a16="http://schemas.microsoft.com/office/drawing/2014/main" id="{531FE630-12F4-317A-C657-4A28B65B0B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3384" y="285442"/>
            <a:ext cx="2234605" cy="147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>
            <a:extLst>
              <a:ext uri="{FF2B5EF4-FFF2-40B4-BE49-F238E27FC236}">
                <a16:creationId xmlns:a16="http://schemas.microsoft.com/office/drawing/2014/main" id="{1345C8D5-5048-4EF7-8373-57CFAEFE90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21320" y="282939"/>
            <a:ext cx="8229600" cy="790575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33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Как рассчитать ИМТ?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24E5DA36-A7EB-4EFE-93F5-2C64A22DC4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213" y="1950243"/>
            <a:ext cx="7920037" cy="356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/>
          <a:p>
            <a:pPr marL="457200" marR="0" lvl="0" indent="-457200" algn="ctr" defTabSz="914400" rtl="0" eaLnBrk="1" fontAlgn="base" latinLnBrk="0" hangingPunct="1">
              <a:lnSpc>
                <a:spcPct val="150000"/>
              </a:lnSpc>
              <a:spcBef>
                <a:spcPts val="1200"/>
              </a:spcBef>
              <a:spcAft>
                <a:spcPct val="0"/>
              </a:spcAft>
              <a:buClr>
                <a:srgbClr val="DDDDDD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МТ = вес, кг/рост, в м²</a:t>
            </a:r>
          </a:p>
        </p:txBody>
      </p:sp>
      <p:pic>
        <p:nvPicPr>
          <p:cNvPr id="75780" name="Picture 2" descr="http://www.telegraaf.nl/incoming/article21131282.ece/BINARY/original/obesitas.jpg">
            <a:extLst>
              <a:ext uri="{FF2B5EF4-FFF2-40B4-BE49-F238E27FC236}">
                <a16:creationId xmlns:a16="http://schemas.microsoft.com/office/drawing/2014/main" id="{9AE75104-826E-4193-8CE3-B53DC29F0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987" y="3140968"/>
            <a:ext cx="2828925" cy="187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BAA21B0-1637-40BB-B10E-C12A8EE34CFF}"/>
              </a:ext>
            </a:extLst>
          </p:cNvPr>
          <p:cNvSpPr/>
          <p:nvPr/>
        </p:nvSpPr>
        <p:spPr>
          <a:xfrm>
            <a:off x="421320" y="5522321"/>
            <a:ext cx="8445822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МТ = 18,5 – 24,9 - это не просто нормальный, это </a:t>
            </a: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деальный</a:t>
            </a: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вес!</a:t>
            </a:r>
            <a:endParaRPr kumimoji="1" lang="ru-RU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Стрелка: вниз 1">
            <a:extLst>
              <a:ext uri="{FF2B5EF4-FFF2-40B4-BE49-F238E27FC236}">
                <a16:creationId xmlns:a16="http://schemas.microsoft.com/office/drawing/2014/main" id="{D49AA24F-F7DF-5DC4-6205-8DFE7FC1F773}"/>
              </a:ext>
            </a:extLst>
          </p:cNvPr>
          <p:cNvSpPr/>
          <p:nvPr/>
        </p:nvSpPr>
        <p:spPr bwMode="auto">
          <a:xfrm>
            <a:off x="4175956" y="1290233"/>
            <a:ext cx="792088" cy="526840"/>
          </a:xfrm>
          <a:prstGeom prst="down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3" name="Прямоугольник 1">
            <a:extLst>
              <a:ext uri="{FF2B5EF4-FFF2-40B4-BE49-F238E27FC236}">
                <a16:creationId xmlns:a16="http://schemas.microsoft.com/office/drawing/2014/main" id="{EBD79F14-F8D8-4C70-8A8B-EA8AD2D30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72616" y="1919871"/>
            <a:ext cx="8385605" cy="1552575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ность талии у женщин </a:t>
            </a:r>
            <a:r>
              <a:rPr kumimoji="0" lang="en-US" alt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80 c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 –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альное/висцеральное ожирение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804" name="Прямоугольник 2">
            <a:extLst>
              <a:ext uri="{FF2B5EF4-FFF2-40B4-BE49-F238E27FC236}">
                <a16:creationId xmlns:a16="http://schemas.microsoft.com/office/drawing/2014/main" id="{2093A53A-6FD8-41E2-9158-7743ADA948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348" y="436589"/>
            <a:ext cx="5246687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ип ожирения имеет большое значение</a:t>
            </a:r>
            <a:endParaRPr kumimoji="1" lang="en-US" altLang="ru-RU" sz="33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805" name="TextBox 1">
            <a:extLst>
              <a:ext uri="{FF2B5EF4-FFF2-40B4-BE49-F238E27FC236}">
                <a16:creationId xmlns:a16="http://schemas.microsoft.com/office/drawing/2014/main" id="{161AD1C2-6C32-4DC2-924B-6DEF11EA07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090544" y="3444214"/>
            <a:ext cx="8385605" cy="3076548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1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крытое ожирение</a:t>
            </a:r>
            <a:r>
              <a:rPr kumimoji="1" lang="en-US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  <a:r>
              <a:rPr kumimoji="1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нормальный 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ли незначительно повышенный ИМТ                                                       при окружности талии </a:t>
            </a:r>
            <a:r>
              <a:rPr kumimoji="1" lang="en-US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 80 </a:t>
            </a:r>
            <a:r>
              <a:rPr kumimoji="1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м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altLang="ru-RU" sz="2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altLang="ru-RU" sz="2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altLang="ru-RU" sz="2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6806" name="Рисунок 1">
            <a:extLst>
              <a:ext uri="{FF2B5EF4-FFF2-40B4-BE49-F238E27FC236}">
                <a16:creationId xmlns:a16="http://schemas.microsoft.com/office/drawing/2014/main" id="{B180CA74-7354-42AF-9EF5-307DA8A558E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7258" y="3252052"/>
            <a:ext cx="2811462" cy="222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96F9F5-91D2-B1D9-FF61-919694DD2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0232" y="219658"/>
            <a:ext cx="1885553" cy="1481506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219FC6CA-2E23-759B-ABBC-DBFCA7888C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7CC5C1E-7526-D8A3-EBAD-16A1B45B7D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908720"/>
            <a:ext cx="5976664" cy="547742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AFDEA5B-334A-A751-5F26-2EC07617A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888" y="260648"/>
            <a:ext cx="5467350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423912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FC3F174-F6E3-D14E-A113-623E8FA8DE9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332656"/>
            <a:ext cx="8646462" cy="547260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BACFCC4-9F58-3916-0767-4DCDFE82E860}"/>
              </a:ext>
            </a:extLst>
          </p:cNvPr>
          <p:cNvSpPr txBox="1"/>
          <p:nvPr/>
        </p:nvSpPr>
        <p:spPr>
          <a:xfrm>
            <a:off x="179512" y="6093296"/>
            <a:ext cx="86044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жирение и метаболизм. – 2022. – Т. 19. – №1. – С. 96-105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4F001FA7-0667-5275-C6E6-A08D175F236A}"/>
              </a:ext>
            </a:extLst>
          </p:cNvPr>
          <p:cNvSpPr/>
          <p:nvPr/>
        </p:nvSpPr>
        <p:spPr bwMode="auto">
          <a:xfrm>
            <a:off x="431540" y="4200879"/>
            <a:ext cx="8280920" cy="1165601"/>
          </a:xfrm>
          <a:prstGeom prst="round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681065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7DDD974-A102-80EC-708D-5000A8C3F9E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8" y="332656"/>
            <a:ext cx="5207152" cy="288032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970B6B5-EBDB-D37F-95DF-07CE831F67A1}"/>
              </a:ext>
            </a:extLst>
          </p:cNvPr>
          <p:cNvSpPr txBox="1"/>
          <p:nvPr/>
        </p:nvSpPr>
        <p:spPr>
          <a:xfrm>
            <a:off x="467544" y="3861048"/>
            <a:ext cx="8352928" cy="1971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</a:t>
            </a:r>
            <a:r>
              <a:rPr kumimoji="1" lang="ru-RU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Более 60% россиян имеют лишний вес или страдают ожирением</a:t>
            </a:r>
            <a:r>
              <a:rPr kumimoji="1" lang="ru-RU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-  заявил директор Федерального исследовательского центра (ФИЦ) питания и биотехнологии, академик РАН Дмитрий Борисович Никитю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82BC692-4E3F-59CD-8716-5045784A6BB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4" y="764704"/>
            <a:ext cx="2736726" cy="1942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334089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B3CD1B-E585-0B0E-EA8F-140F8860D51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956" y="188641"/>
            <a:ext cx="7859532" cy="237626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A3C834C-DC3F-A1E6-D4A6-CD74523BE04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3212976"/>
            <a:ext cx="8352928" cy="285576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44FDC96-C039-53D3-E5EE-E29C599E37B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80728"/>
            <a:ext cx="2339752" cy="1754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09651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925B20B-4EB9-4AEA-B316-D11F26201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258364"/>
            <a:ext cx="8601494" cy="1442443"/>
          </a:xfrm>
        </p:spPr>
        <p:txBody>
          <a:bodyPr/>
          <a:lstStyle/>
          <a:p>
            <a:pPr algn="ctr"/>
            <a:r>
              <a:rPr lang="ru-RU" altLang="en-US" sz="31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рение влечет за собой                               многочисленные заболевания                                 и осложнения, в том числе у беременных</a:t>
            </a:r>
            <a:endParaRPr lang="en-GB" sz="31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2194AF-C4E3-4997-A17D-7C6B64EDE06A}"/>
              </a:ext>
            </a:extLst>
          </p:cNvPr>
          <p:cNvSpPr txBox="1"/>
          <p:nvPr/>
        </p:nvSpPr>
        <p:spPr>
          <a:xfrm>
            <a:off x="166125" y="6000963"/>
            <a:ext cx="8811750" cy="461663"/>
          </a:xfrm>
          <a:prstGeom prst="rect">
            <a:avLst/>
          </a:prstGeom>
          <a:noFill/>
        </p:spPr>
        <p:txBody>
          <a:bodyPr wrap="square" lIns="91438" tIns="45719" rIns="91438" bIns="45719" rtlCol="0" anchor="b">
            <a:spAutoFit/>
          </a:bodyPr>
          <a:lstStyle/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apted from Sharma AM. Obes Rev. 2010;11:808-9; </a:t>
            </a:r>
            <a:r>
              <a:rPr kumimoji="0" lang="en-CA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h et al. BMC Public Health 2009;9:88; Luppino et al. Arch Gen Psychiatry 2010;67:220–9; 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on et al. Arch Gen Psychiatry 2006;63:824–30; </a:t>
            </a: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urch et al. Gastroenterology 2006;130:2023–30; 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et al. Prev Med 2010;51:18–23;</a:t>
            </a: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ler. Prev Chronic Dis 2009;6:A48</a:t>
            </a:r>
            <a:endParaRPr kumimoji="0" lang="en-CA" sz="8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62DD6B8-B38E-4F82-AFB1-272243E88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962" y="2029629"/>
            <a:ext cx="7286625" cy="368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1421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5">
            <a:extLst>
              <a:ext uri="{FF2B5EF4-FFF2-40B4-BE49-F238E27FC236}">
                <a16:creationId xmlns:a16="http://schemas.microsoft.com/office/drawing/2014/main" id="{484D9BD8-A3B1-4C44-9690-AD76F133A0D0}"/>
              </a:ext>
            </a:extLst>
          </p:cNvPr>
          <p:cNvSpPr txBox="1">
            <a:spLocks/>
          </p:cNvSpPr>
          <p:nvPr/>
        </p:nvSpPr>
        <p:spPr bwMode="auto">
          <a:xfrm>
            <a:off x="750093" y="476672"/>
            <a:ext cx="7643813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жирение матери и здоровье детей в будущем </a:t>
            </a: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0D1FEA0D-935A-470C-8F65-DD77BBBF66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264" y="1798979"/>
            <a:ext cx="5040560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55600" marR="0" lvl="0" indent="-34290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alt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е матери </a:t>
            </a:r>
            <a:r>
              <a:rPr kumimoji="1" lang="ru-RU" alt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1,35 раза </a:t>
            </a:r>
            <a:r>
              <a:rPr kumimoji="1" lang="ru-RU" alt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ает риск более ранней смертности</a:t>
            </a:r>
          </a:p>
          <a:p>
            <a:pPr marL="355600" marR="0" lvl="0" indent="-34290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шний вес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 в период зачатия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дваивает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иск ожирения        ее детей,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е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 в период зачатия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величивает риск втрое</a:t>
            </a:r>
          </a:p>
          <a:p>
            <a:pPr marL="355600" marR="0" lvl="0" indent="-34290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altLang="ru-RU" sz="2000" b="1" dirty="0">
                <a:solidFill>
                  <a:prstClr val="white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ес более 4 кг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рождении ребенка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дваивает риск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го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я </a:t>
            </a:r>
            <a:r>
              <a:rPr kumimoji="1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 взрослом возрасте</a:t>
            </a:r>
            <a:endParaRPr kumimoji="1" lang="ru-RU" altLang="ru-RU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55600" marR="0" lvl="0" indent="-34290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ru-RU" altLang="ru-RU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45FA6AA-4D08-4CE2-A534-29D248007348}"/>
              </a:ext>
            </a:extLst>
          </p:cNvPr>
          <p:cNvSpPr/>
          <p:nvPr/>
        </p:nvSpPr>
        <p:spPr>
          <a:xfrm>
            <a:off x="2411760" y="5877273"/>
            <a:ext cx="65528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ynolds R.M., Allan K.M. et al. Maternal obesity during pregnancy and premature mortality from cardiovascular event in adult offspring: follow-up of 1 323 275 person years. BMJ. 2013 Aug 13;347:f4539.</a:t>
            </a:r>
            <a:endParaRPr kumimoji="1" lang="ru-RU" sz="800" b="0" i="0" u="none" strike="noStrike" kern="1200" cap="none" spc="-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A694E11F-8ED8-4475-8379-E8B212FAA8A4}"/>
              </a:ext>
            </a:extLst>
          </p:cNvPr>
          <p:cNvSpPr txBox="1"/>
          <p:nvPr/>
        </p:nvSpPr>
        <p:spPr>
          <a:xfrm>
            <a:off x="3707904" y="6141640"/>
            <a:ext cx="5109641" cy="1483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marR="0" lvl="0" indent="0" algn="r" defTabSz="914400" rtl="0" eaLnBrk="0" fontAlgn="base" latinLnBrk="0" hangingPunct="0">
              <a:lnSpc>
                <a:spcPts val="12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Z et</a:t>
            </a:r>
            <a:r>
              <a:rPr kumimoji="1" sz="800" b="1" i="1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 O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;8(4):</a:t>
            </a:r>
            <a:r>
              <a:rPr kumimoji="1" sz="800" b="1" i="1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d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1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1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n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1" sz="800" b="1" i="1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p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0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r>
              <a:rPr kumimoji="1" sz="800" b="1" i="1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1" sz="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</a:t>
            </a:r>
            <a:endParaRPr kumimoji="1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Рисунок 8">
            <a:extLst>
              <a:ext uri="{FF2B5EF4-FFF2-40B4-BE49-F238E27FC236}">
                <a16:creationId xmlns:a16="http://schemas.microsoft.com/office/drawing/2014/main" id="{C1A48262-5985-4E84-A739-24C3B744A05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2636912"/>
            <a:ext cx="3019425" cy="210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53829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B5794E2E-023F-4DA7-B228-935A84E915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2420888"/>
            <a:ext cx="7992888" cy="3941052"/>
          </a:xfrm>
        </p:spPr>
        <p:txBody>
          <a:bodyPr/>
          <a:lstStyle/>
          <a:p>
            <a:pPr>
              <a:buClr>
                <a:srgbClr val="FFFF00"/>
              </a:buClr>
              <a:buSzPct val="123000"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</a:rPr>
              <a:t>увеличение жировой массы происходит за счет увеличения размера жировых клеток. </a:t>
            </a:r>
            <a:r>
              <a:rPr lang="ru-RU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Зрелые жировые клетки не делятся, их размер увеличивается в результате запасания жирных кислот в липидных каплях цитозоли в форме неполярных триглицеридов</a:t>
            </a: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</a:rPr>
              <a:t>увеличение числа жировых клеток (адипоцитов) и накопление в них триглицеридов </a:t>
            </a:r>
            <a:r>
              <a:rPr lang="ru-RU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приводит к выработке токсичных белков, которые нарушают функцию клеток</a:t>
            </a:r>
          </a:p>
          <a:p>
            <a:pPr>
              <a:buClr>
                <a:srgbClr val="FFFF00"/>
              </a:buClr>
              <a:buSzPct val="123000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жировые клетки становятся больше и в них </a:t>
            </a:r>
            <a:r>
              <a:rPr lang="ru-RU" sz="16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запускается программа апоптоза – программированной гибели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. Происходит </a:t>
            </a:r>
            <a:r>
              <a:rPr lang="ru-RU" sz="16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образование телец апоптоза – биологического «мусора». Это активирует реакцию воспаления в рыхлой соединительной ткани</a:t>
            </a:r>
          </a:p>
          <a:p>
            <a:pPr>
              <a:buClr>
                <a:srgbClr val="FFFF00"/>
              </a:buClr>
              <a:buSzPct val="123000"/>
            </a:pPr>
            <a:r>
              <a:rPr lang="ru-RU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ф</a:t>
            </a:r>
            <a:r>
              <a:rPr lang="ru-RU" sz="16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ормируется состояние системного воспалительного ответа ткани на любое воздействие, что сопровождается поражением эпителия сосудов и нарушением функции тканей и органов</a:t>
            </a:r>
            <a:endParaRPr lang="ru-RU" b="1" dirty="0">
              <a:solidFill>
                <a:schemeClr val="bg1"/>
              </a:solidFill>
              <a:highlight>
                <a:srgbClr val="800000"/>
              </a:highlight>
              <a:latin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2B1CA3-41C6-4A84-BAFF-A07129CBA6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332656"/>
            <a:ext cx="6143625" cy="1657350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5C3CCFF7-269C-44FE-981D-4CC195A4F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264" y="404664"/>
            <a:ext cx="1730877" cy="1527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678336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DD0D65-AD1B-FFA0-7069-475B2868E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98" y="401487"/>
            <a:ext cx="7772400" cy="1143000"/>
          </a:xfrm>
        </p:spPr>
        <p:txBody>
          <a:bodyPr/>
          <a:lstStyle/>
          <a:p>
            <a:pPr algn="ctr"/>
            <a:r>
              <a:rPr lang="ru-RU" sz="31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поэтому мама должна быть здоровой!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CECD3D1-86B5-F655-4915-3AF69C5008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568" y="2004239"/>
            <a:ext cx="6988968" cy="204410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2574E38-CD4C-CB00-7B1C-DED3CB66B94C}"/>
              </a:ext>
            </a:extLst>
          </p:cNvPr>
          <p:cNvSpPr txBox="1"/>
          <p:nvPr/>
        </p:nvSpPr>
        <p:spPr>
          <a:xfrm>
            <a:off x="1921496" y="5949280"/>
            <a:ext cx="66784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www.crbbel.ru/home/articles/240-zdorovaya-mama-zalog-zdorovya-budushchego-rebenka</a:t>
            </a:r>
            <a:endParaRPr lang="ru-RU" sz="1200" i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D356B45-4276-485F-BFB1-FFDC998139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3641557"/>
            <a:ext cx="2555776" cy="1703851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1E39255-17CD-F59A-5EFD-4233FCADB9B8}"/>
              </a:ext>
            </a:extLst>
          </p:cNvPr>
          <p:cNvSpPr txBox="1">
            <a:spLocks/>
          </p:cNvSpPr>
          <p:nvPr/>
        </p:nvSpPr>
        <p:spPr bwMode="auto">
          <a:xfrm>
            <a:off x="409577" y="4493482"/>
            <a:ext cx="55446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kumimoji="0" lang="ru-RU" sz="21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продуктивное здоровье россиянок оставляет желать лучшего!</a:t>
            </a:r>
          </a:p>
        </p:txBody>
      </p:sp>
      <p:sp>
        <p:nvSpPr>
          <p:cNvPr id="10" name="Стрелка: вниз 9">
            <a:extLst>
              <a:ext uri="{FF2B5EF4-FFF2-40B4-BE49-F238E27FC236}">
                <a16:creationId xmlns:a16="http://schemas.microsoft.com/office/drawing/2014/main" id="{31CD4164-255E-468F-7BD5-4D4CE557D3A3}"/>
              </a:ext>
            </a:extLst>
          </p:cNvPr>
          <p:cNvSpPr/>
          <p:nvPr/>
        </p:nvSpPr>
        <p:spPr bwMode="auto">
          <a:xfrm>
            <a:off x="2785841" y="4206082"/>
            <a:ext cx="792088" cy="526840"/>
          </a:xfrm>
          <a:prstGeom prst="downArrow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ru-RU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64EA9E5C-5E40-9C9A-12A1-A6BE7BA1A834}"/>
              </a:ext>
            </a:extLst>
          </p:cNvPr>
          <p:cNvSpPr/>
          <p:nvPr/>
        </p:nvSpPr>
        <p:spPr>
          <a:xfrm>
            <a:off x="649834" y="4869160"/>
            <a:ext cx="5304359" cy="943882"/>
          </a:xfrm>
          <a:prstGeom prst="round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6745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148CFCE-BA29-4C8B-A173-EF8655FE9D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3429000"/>
            <a:ext cx="8009905" cy="303882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559BB59-1393-4D61-9063-52C2F44342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8334" y="390173"/>
            <a:ext cx="1504146" cy="2088232"/>
          </a:xfrm>
          <a:prstGeom prst="rect">
            <a:avLst/>
          </a:prstGeom>
          <a:ln>
            <a:solidFill>
              <a:srgbClr val="001423"/>
            </a:solidFill>
          </a:ln>
        </p:spPr>
      </p:pic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A03E4BE1-9E23-49E9-9872-1FFC23E22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627273"/>
            <a:ext cx="6984776" cy="605483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иски ожирения определяют генетика, микробы кишечника (и не только!)                  и хроническое воспаление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83B75FD8-40E7-BC1C-AB46-926209892640}"/>
              </a:ext>
            </a:extLst>
          </p:cNvPr>
          <p:cNvSpPr/>
          <p:nvPr/>
        </p:nvSpPr>
        <p:spPr>
          <a:xfrm>
            <a:off x="539552" y="3429000"/>
            <a:ext cx="7848872" cy="1080120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A4AF33-E2C3-79B4-8753-7BD1FF37A293}"/>
              </a:ext>
            </a:extLst>
          </p:cNvPr>
          <p:cNvSpPr txBox="1"/>
          <p:nvPr/>
        </p:nvSpPr>
        <p:spPr>
          <a:xfrm>
            <a:off x="251520" y="1916832"/>
            <a:ext cx="6984776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казано, что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МТ зависит от наследственных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               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кторов на 40-70%,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дентифицировано множество генов, кодирующих работу тех или иных звеньев регуляции массы тела и обмена веществ</a:t>
            </a:r>
          </a:p>
        </p:txBody>
      </p:sp>
    </p:spTree>
    <p:extLst>
      <p:ext uri="{BB962C8B-B14F-4D97-AF65-F5344CB8AC3E}">
        <p14:creationId xmlns:p14="http://schemas.microsoft.com/office/powerpoint/2010/main" val="348214820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3BD550-7D25-1772-E7F1-96A1C8AF80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16632"/>
            <a:ext cx="7772400" cy="990600"/>
          </a:xfrm>
        </p:spPr>
        <p:txBody>
          <a:bodyPr/>
          <a:lstStyle/>
          <a:p>
            <a:pPr algn="ctr"/>
            <a:r>
              <a:rPr lang="ru-RU" sz="3300" b="1" dirty="0">
                <a:solidFill>
                  <a:srgbClr val="FFFF00"/>
                </a:solidFill>
              </a:rPr>
              <a:t>Кишечная микробиота и ожире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D32F95-A921-9286-58B9-AC9F09F5739C}"/>
              </a:ext>
            </a:extLst>
          </p:cNvPr>
          <p:cNvSpPr txBox="1"/>
          <p:nvPr/>
        </p:nvSpPr>
        <p:spPr>
          <a:xfrm>
            <a:off x="395536" y="1340768"/>
            <a:ext cx="8424936" cy="272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ыло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доказано, что у пациентов с ожирением 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и метаболическими заболеваниями обнаруживаются изменения в микробиоте кишечника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исбаланс состава </a:t>
            </a:r>
            <a:r>
              <a:rPr kumimoji="1" lang="ru-RU" sz="1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кробиома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такой как изменения соотношения </a:t>
            </a:r>
            <a:r>
              <a:rPr kumimoji="1" lang="ru-RU" sz="19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teroidetes</a:t>
            </a:r>
            <a:r>
              <a:rPr kumimoji="1" lang="ru-RU" sz="1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</a:t>
            </a:r>
            <a:r>
              <a:rPr kumimoji="1" lang="ru-RU" sz="19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micutes</a:t>
            </a:r>
            <a:r>
              <a:rPr kumimoji="1" lang="ru-RU" sz="1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 присутствия различных видов рода </a:t>
            </a:r>
            <a:r>
              <a:rPr kumimoji="1" lang="ru-RU" sz="19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ctobacillus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может способствовать ожирению и сопутствующим заболеваниям (сахарный диабет 2 типа, гипертония, дислипидемия, депрессия, синдром обструктивного апноэ во сне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C5C03EE-AC9B-FA19-E671-4AF4A995E78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672" y="4365104"/>
            <a:ext cx="5688632" cy="2083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98793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B142A3AC-3835-4DF7-9CF5-C2A2DEE75F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2354419"/>
            <a:ext cx="4540970" cy="4417484"/>
          </a:xfrm>
        </p:spPr>
        <p:txBody>
          <a:bodyPr/>
          <a:lstStyle/>
          <a:p>
            <a:pPr marL="269875" indent="-269875">
              <a:lnSpc>
                <a:spcPct val="100000"/>
              </a:lnSpc>
              <a:spcBef>
                <a:spcPts val="600"/>
              </a:spcBef>
            </a:pP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пищевая перегрузка</a:t>
            </a: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и накопление в клетках определенных липидов и их метаболитов</a:t>
            </a:r>
          </a:p>
          <a:p>
            <a:pPr marL="269875" indent="-269875">
              <a:lnSpc>
                <a:spcPct val="100000"/>
              </a:lnSpc>
              <a:spcBef>
                <a:spcPts val="600"/>
              </a:spcBef>
            </a:pP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низкая физическая активность</a:t>
            </a:r>
          </a:p>
          <a:p>
            <a:pPr marL="269875" indent="-269875">
              <a:lnSpc>
                <a:spcPct val="100000"/>
              </a:lnSpc>
              <a:spcBef>
                <a:spcPts val="600"/>
              </a:spcBef>
            </a:pP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хроническое воспаление </a:t>
            </a:r>
          </a:p>
          <a:p>
            <a:pPr marL="269875" indent="-269875">
              <a:lnSpc>
                <a:spcPct val="100000"/>
              </a:lnSpc>
              <a:spcBef>
                <a:spcPts val="600"/>
              </a:spcBef>
            </a:pP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тресс любой природы</a:t>
            </a: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 включая </a:t>
            </a:r>
            <a:r>
              <a:rPr lang="ru-RU" sz="19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ксидативный</a:t>
            </a: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и «стресс эндоплазматического </a:t>
            </a:r>
            <a:r>
              <a:rPr lang="ru-RU" sz="19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етикулума</a:t>
            </a: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(нарушение распада поврежденных белков в клетке)</a:t>
            </a:r>
            <a:b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CBD068B-1C54-4520-89BB-B4DD39A4C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803" y="224609"/>
            <a:ext cx="5558324" cy="1325563"/>
          </a:xfrm>
        </p:spPr>
        <p:txBody>
          <a:bodyPr/>
          <a:lstStyle/>
          <a:p>
            <a:pPr algn="ctr"/>
            <a:r>
              <a:rPr lang="ru-RU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сулинорезистентность – сбой эндокринной регуляции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8B9D980-9EAA-47D6-9B29-1C2A4E48ED87}"/>
              </a:ext>
            </a:extLst>
          </p:cNvPr>
          <p:cNvSpPr/>
          <p:nvPr/>
        </p:nvSpPr>
        <p:spPr>
          <a:xfrm>
            <a:off x="1556598" y="6171655"/>
            <a:ext cx="73358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олекулярные механизмы развития резистентности к инсулину, 2018 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yberleninka.ru/article/n/molekulyarnye-mehanizmy-razvitiya-rezistentnosti-k-insulinu</a:t>
            </a:r>
            <a:endParaRPr kumimoji="1" lang="ru-RU" sz="11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ABE645C-5D95-4CF6-9C21-E6E002CFEC1B}"/>
              </a:ext>
            </a:extLst>
          </p:cNvPr>
          <p:cNvSpPr/>
          <p:nvPr/>
        </p:nvSpPr>
        <p:spPr>
          <a:xfrm>
            <a:off x="6012160" y="2607733"/>
            <a:ext cx="2752104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е передачи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гнала от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цептора инсулина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 его мишеням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 механизму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цательной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                обратной связи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во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утриклеточных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улин-зависимых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гнальных каскадах</a:t>
            </a:r>
            <a:b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1" lang="ru-RU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800000"/>
              </a:highlight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DAAE596D-46B3-4387-A991-24F94842B4C7}"/>
              </a:ext>
            </a:extLst>
          </p:cNvPr>
          <p:cNvSpPr/>
          <p:nvPr/>
        </p:nvSpPr>
        <p:spPr>
          <a:xfrm>
            <a:off x="4860032" y="3428999"/>
            <a:ext cx="931637" cy="72008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13603E6-01A2-4D6A-8D93-DB8D77AE3CFA}"/>
              </a:ext>
            </a:extLst>
          </p:cNvPr>
          <p:cNvSpPr/>
          <p:nvPr/>
        </p:nvSpPr>
        <p:spPr>
          <a:xfrm>
            <a:off x="0" y="1740881"/>
            <a:ext cx="55583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новными причинами служат:</a:t>
            </a:r>
            <a:endParaRPr kumimoji="1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5EF7BD8-BB2E-4BA7-BDFB-2BDE3F1FBA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9844" y="116632"/>
            <a:ext cx="3183349" cy="2139876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F7C7FE17-0661-49E0-B619-B1772DE0A70A}"/>
              </a:ext>
            </a:extLst>
          </p:cNvPr>
          <p:cNvSpPr/>
          <p:nvPr/>
        </p:nvSpPr>
        <p:spPr>
          <a:xfrm>
            <a:off x="181744" y="4006204"/>
            <a:ext cx="4678287" cy="1943076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45232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TextBox 40">
            <a:extLst>
              <a:ext uri="{FF2B5EF4-FFF2-40B4-BE49-F238E27FC236}">
                <a16:creationId xmlns:a16="http://schemas.microsoft.com/office/drawing/2014/main" id="{234720E8-44B3-4B49-B58C-0824C44FE4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975" y="1617182"/>
            <a:ext cx="8854293" cy="353695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wrap="square" lIns="89193" tIns="44596" rIns="89193" bIns="44596">
            <a:spAutoFit/>
          </a:bodyPr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507" name="Rectangle 3">
            <a:extLst>
              <a:ext uri="{FF2B5EF4-FFF2-40B4-BE49-F238E27FC236}">
                <a16:creationId xmlns:a16="http://schemas.microsoft.com/office/drawing/2014/main" id="{10C2E264-5283-474D-9C91-A184BCCC6F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2363" y="5729288"/>
            <a:ext cx="19050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303108" name="Text Box 4">
            <a:extLst>
              <a:ext uri="{FF2B5EF4-FFF2-40B4-BE49-F238E27FC236}">
                <a16:creationId xmlns:a16="http://schemas.microsoft.com/office/drawing/2014/main" id="{24D8C857-CFB9-4B6A-9ED2-CAA583DBA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7663" y="6429375"/>
            <a:ext cx="48037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193" tIns="44596" rIns="89193" bIns="44596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B37732"/>
              </a:buClr>
              <a:buSzPct val="85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338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водится из публикации:</a:t>
            </a:r>
            <a:r>
              <a:rPr kumimoji="0" lang="fr-FR" altLang="ru-RU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ouliot MC, et al. Diabetes 1992;41:826-834.</a:t>
            </a:r>
          </a:p>
        </p:txBody>
      </p:sp>
      <p:sp>
        <p:nvSpPr>
          <p:cNvPr id="53255" name="Text Box 6">
            <a:extLst>
              <a:ext uri="{FF2B5EF4-FFF2-40B4-BE49-F238E27FC236}">
                <a16:creationId xmlns:a16="http://schemas.microsoft.com/office/drawing/2014/main" id="{9A511CEF-A845-472D-995C-A2C49174DD2E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0" y="2465388"/>
            <a:ext cx="881063" cy="274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89193" tIns="44596" rIns="89193" bIns="44596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моль</a:t>
            </a: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/л</a:t>
            </a:r>
          </a:p>
        </p:txBody>
      </p:sp>
      <p:sp>
        <p:nvSpPr>
          <p:cNvPr id="53256" name="Text Box 7">
            <a:extLst>
              <a:ext uri="{FF2B5EF4-FFF2-40B4-BE49-F238E27FC236}">
                <a16:creationId xmlns:a16="http://schemas.microsoft.com/office/drawing/2014/main" id="{1AB039B5-0204-4C5D-A98F-0C42245508C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371976" y="2419350"/>
            <a:ext cx="881062" cy="274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89193" tIns="44596" rIns="89193" bIns="44596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моль</a:t>
            </a: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/л</a:t>
            </a:r>
          </a:p>
        </p:txBody>
      </p:sp>
      <p:sp>
        <p:nvSpPr>
          <p:cNvPr id="53257" name="Text Box 8">
            <a:extLst>
              <a:ext uri="{FF2B5EF4-FFF2-40B4-BE49-F238E27FC236}">
                <a16:creationId xmlns:a16="http://schemas.microsoft.com/office/drawing/2014/main" id="{7B2CF6EF-76EC-4E83-8CBE-CE8736F861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21375" y="4679950"/>
            <a:ext cx="2808288" cy="314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lIns="89193" tIns="44596" rIns="89193" bIns="44596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54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ремя, мин</a:t>
            </a:r>
          </a:p>
        </p:txBody>
      </p:sp>
      <p:sp>
        <p:nvSpPr>
          <p:cNvPr id="53258" name="Text Box 9">
            <a:extLst>
              <a:ext uri="{FF2B5EF4-FFF2-40B4-BE49-F238E27FC236}">
                <a16:creationId xmlns:a16="http://schemas.microsoft.com/office/drawing/2014/main" id="{83503616-BCAB-4354-A853-F75E4B70DD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825" y="4740275"/>
            <a:ext cx="3024188" cy="314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lIns="89193" tIns="44596" rIns="89193" bIns="44596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54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ремя, мин</a:t>
            </a:r>
          </a:p>
        </p:txBody>
      </p:sp>
      <p:sp>
        <p:nvSpPr>
          <p:cNvPr id="303113" name="Text Box 10">
            <a:extLst>
              <a:ext uri="{FF2B5EF4-FFF2-40B4-BE49-F238E27FC236}">
                <a16:creationId xmlns:a16="http://schemas.microsoft.com/office/drawing/2014/main" id="{CACEE5B5-A238-41E0-BA05-6D1D3E2CB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975" y="5480050"/>
            <a:ext cx="5975350" cy="64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193" tIns="44596" rIns="89193" bIns="44596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B37732"/>
              </a:buClr>
              <a:buSzPct val="85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338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- Достоверные различия в сравнении с лицами без ожирения</a:t>
            </a:r>
            <a:b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- Достоверные различия в сравнении с больными с </a:t>
            </a:r>
            <a:r>
              <a:rPr kumimoji="0" lang="en-US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</a:t>
            </a: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ем и малым объемом висцеральной жировой ткани</a:t>
            </a:r>
          </a:p>
        </p:txBody>
      </p:sp>
      <p:sp>
        <p:nvSpPr>
          <p:cNvPr id="303114" name="Text Box 11">
            <a:extLst>
              <a:ext uri="{FF2B5EF4-FFF2-40B4-BE49-F238E27FC236}">
                <a16:creationId xmlns:a16="http://schemas.microsoft.com/office/drawing/2014/main" id="{D942698B-3A01-4EC4-9DB8-00D06D3EB4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67400" y="5445125"/>
            <a:ext cx="3276600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193" tIns="44596" rIns="89193" bIns="44596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B37732"/>
              </a:buClr>
              <a:buSzPct val="85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338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 ожирения</a:t>
            </a:r>
            <a:b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е, мало висцерального жира  Ожирение, много висцерального жира</a:t>
            </a:r>
          </a:p>
        </p:txBody>
      </p:sp>
      <p:sp>
        <p:nvSpPr>
          <p:cNvPr id="21515" name="AutoShape 12">
            <a:extLst>
              <a:ext uri="{FF2B5EF4-FFF2-40B4-BE49-F238E27FC236}">
                <a16:creationId xmlns:a16="http://schemas.microsoft.com/office/drawing/2014/main" id="{9FB96B88-941E-4390-8F34-2C528117E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938" y="1849438"/>
            <a:ext cx="1223962" cy="2714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3399"/>
              </a:gs>
              <a:gs pos="50000">
                <a:srgbClr val="4F72B9"/>
              </a:gs>
              <a:gs pos="100000">
                <a:srgbClr val="003399"/>
              </a:gs>
            </a:gsLst>
            <a:lin ang="2700000" scaled="1"/>
          </a:gradFill>
          <a:ln w="9525">
            <a:solidFill>
              <a:srgbClr val="003366"/>
            </a:solidFill>
            <a:round/>
            <a:headEnd/>
            <a:tailEnd/>
          </a:ln>
        </p:spPr>
        <p:txBody>
          <a:bodyPr wrap="none" lIns="89193" tIns="44596" rIns="89193" bIns="44596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53262" name="Text Box 13">
            <a:extLst>
              <a:ext uri="{FF2B5EF4-FFF2-40B4-BE49-F238E27FC236}">
                <a16:creationId xmlns:a16="http://schemas.microsoft.com/office/drawing/2014/main" id="{3092E49E-D61F-4993-BD69-ABCA57AF36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938" y="1822450"/>
            <a:ext cx="1223962" cy="3270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lIns="89193" tIns="44596" rIns="89193" bIns="44596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3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люкоза</a:t>
            </a:r>
          </a:p>
        </p:txBody>
      </p:sp>
      <p:sp>
        <p:nvSpPr>
          <p:cNvPr id="53264" name="Text Box 15">
            <a:extLst>
              <a:ext uri="{FF2B5EF4-FFF2-40B4-BE49-F238E27FC236}">
                <a16:creationId xmlns:a16="http://schemas.microsoft.com/office/drawing/2014/main" id="{CAD1C1B5-BE2F-4D88-8D59-2171D8BC6F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2825" y="1720850"/>
            <a:ext cx="1223963" cy="3270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lIns="89193" tIns="44596" rIns="89193" bIns="44596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3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сулин</a:t>
            </a:r>
          </a:p>
        </p:txBody>
      </p:sp>
      <p:sp>
        <p:nvSpPr>
          <p:cNvPr id="21518" name="Oval 17">
            <a:extLst>
              <a:ext uri="{FF2B5EF4-FFF2-40B4-BE49-F238E27FC236}">
                <a16:creationId xmlns:a16="http://schemas.microsoft.com/office/drawing/2014/main" id="{F845616C-FC64-4F40-854F-273C87960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8800" y="5516563"/>
            <a:ext cx="142875" cy="13493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89193" tIns="44596" rIns="89193" bIns="44596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1519" name="Oval 18">
            <a:extLst>
              <a:ext uri="{FF2B5EF4-FFF2-40B4-BE49-F238E27FC236}">
                <a16:creationId xmlns:a16="http://schemas.microsoft.com/office/drawing/2014/main" id="{75065C79-1CB9-4C05-8AEB-4D83232B2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1975" y="5719763"/>
            <a:ext cx="142875" cy="134937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89193" tIns="44596" rIns="89193" bIns="44596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sp>
        <p:nvSpPr>
          <p:cNvPr id="21520" name="Oval 19">
            <a:extLst>
              <a:ext uri="{FF2B5EF4-FFF2-40B4-BE49-F238E27FC236}">
                <a16:creationId xmlns:a16="http://schemas.microsoft.com/office/drawing/2014/main" id="{47520B56-3166-4B6E-96E1-8753F6E029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1500" y="5922963"/>
            <a:ext cx="142875" cy="134937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89193" tIns="44596" rIns="89193" bIns="44596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BE20B9B3-1141-447C-B3BE-349CE3F687FE}"/>
              </a:ext>
            </a:extLst>
          </p:cNvPr>
          <p:cNvGraphicFramePr>
            <a:graphicFrameLocks/>
          </p:cNvGraphicFramePr>
          <p:nvPr/>
        </p:nvGraphicFramePr>
        <p:xfrm>
          <a:off x="578049" y="2165840"/>
          <a:ext cx="3774826" cy="2439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F290BEB9-B117-40F2-868A-9BD827B0A8D4}"/>
              </a:ext>
            </a:extLst>
          </p:cNvPr>
          <p:cNvGraphicFramePr>
            <a:graphicFrameLocks/>
          </p:cNvGraphicFramePr>
          <p:nvPr/>
        </p:nvGraphicFramePr>
        <p:xfrm>
          <a:off x="5075311" y="2148820"/>
          <a:ext cx="3978200" cy="2395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523" name="TextBox 20">
            <a:extLst>
              <a:ext uri="{FF2B5EF4-FFF2-40B4-BE49-F238E27FC236}">
                <a16:creationId xmlns:a16="http://schemas.microsoft.com/office/drawing/2014/main" id="{3C105266-F17C-49A1-B303-E69E25D75F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3" y="3113088"/>
            <a:ext cx="2587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4" name="TextBox 22">
            <a:extLst>
              <a:ext uri="{FF2B5EF4-FFF2-40B4-BE49-F238E27FC236}">
                <a16:creationId xmlns:a16="http://schemas.microsoft.com/office/drawing/2014/main" id="{8CD9C7E6-8AC3-43A5-A62B-E8BB64605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5713" y="3043238"/>
            <a:ext cx="2587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5" name="TextBox 23">
            <a:extLst>
              <a:ext uri="{FF2B5EF4-FFF2-40B4-BE49-F238E27FC236}">
                <a16:creationId xmlns:a16="http://schemas.microsoft.com/office/drawing/2014/main" id="{046534D9-F2B7-40F0-A6C7-2FD8DAEEF3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1613" y="2840038"/>
            <a:ext cx="2587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6" name="TextBox 24">
            <a:extLst>
              <a:ext uri="{FF2B5EF4-FFF2-40B4-BE49-F238E27FC236}">
                <a16:creationId xmlns:a16="http://schemas.microsoft.com/office/drawing/2014/main" id="{F066F317-0B45-406A-A231-A3565109BB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6075" y="2636838"/>
            <a:ext cx="2587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7" name="TextBox 25">
            <a:extLst>
              <a:ext uri="{FF2B5EF4-FFF2-40B4-BE49-F238E27FC236}">
                <a16:creationId xmlns:a16="http://schemas.microsoft.com/office/drawing/2014/main" id="{36031A4D-FE32-48E0-91B7-FE8C0A7715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5000" y="2500313"/>
            <a:ext cx="2587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8" name="TextBox 26">
            <a:extLst>
              <a:ext uri="{FF2B5EF4-FFF2-40B4-BE49-F238E27FC236}">
                <a16:creationId xmlns:a16="http://schemas.microsoft.com/office/drawing/2014/main" id="{EB607F1B-60A3-40F0-A16A-18A64320CB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6800" y="2636838"/>
            <a:ext cx="2587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29" name="TextBox 27">
            <a:extLst>
              <a:ext uri="{FF2B5EF4-FFF2-40B4-BE49-F238E27FC236}">
                <a16:creationId xmlns:a16="http://schemas.microsoft.com/office/drawing/2014/main" id="{CF32ED23-1748-4A06-AB82-5DB649E334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2700" y="2908300"/>
            <a:ext cx="3778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0" name="TextBox 28">
            <a:extLst>
              <a:ext uri="{FF2B5EF4-FFF2-40B4-BE49-F238E27FC236}">
                <a16:creationId xmlns:a16="http://schemas.microsoft.com/office/drawing/2014/main" id="{BC63C193-EA01-4C6B-B0CF-4164B33B2D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5938" y="3043238"/>
            <a:ext cx="2587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31" name="TextBox 29">
            <a:extLst>
              <a:ext uri="{FF2B5EF4-FFF2-40B4-BE49-F238E27FC236}">
                <a16:creationId xmlns:a16="http://schemas.microsoft.com/office/drawing/2014/main" id="{CB9F7044-E2D3-445C-B68D-9628263526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0763" y="3113088"/>
            <a:ext cx="2587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32" name="TextBox 30">
            <a:extLst>
              <a:ext uri="{FF2B5EF4-FFF2-40B4-BE49-F238E27FC236}">
                <a16:creationId xmlns:a16="http://schemas.microsoft.com/office/drawing/2014/main" id="{FC2228D8-B65B-4D46-85CC-8F99A97D9F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2563" y="3316288"/>
            <a:ext cx="2587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1533" name="TextBox 31">
            <a:extLst>
              <a:ext uri="{FF2B5EF4-FFF2-40B4-BE49-F238E27FC236}">
                <a16:creationId xmlns:a16="http://schemas.microsoft.com/office/drawing/2014/main" id="{8DB882CA-B499-4C4E-9144-23662724A2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6088" y="3594100"/>
            <a:ext cx="3778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4" name="TextBox 32">
            <a:extLst>
              <a:ext uri="{FF2B5EF4-FFF2-40B4-BE49-F238E27FC236}">
                <a16:creationId xmlns:a16="http://schemas.microsoft.com/office/drawing/2014/main" id="{3364D5F0-EDAA-453A-B0FD-1AEFA53EEF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3425" y="3255963"/>
            <a:ext cx="3778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5" name="TextBox 33">
            <a:extLst>
              <a:ext uri="{FF2B5EF4-FFF2-40B4-BE49-F238E27FC236}">
                <a16:creationId xmlns:a16="http://schemas.microsoft.com/office/drawing/2014/main" id="{41CE5CE0-4487-470A-99D4-CEA39AB8AA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35688" y="2789238"/>
            <a:ext cx="3778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6" name="TextBox 34">
            <a:extLst>
              <a:ext uri="{FF2B5EF4-FFF2-40B4-BE49-F238E27FC236}">
                <a16:creationId xmlns:a16="http://schemas.microsoft.com/office/drawing/2014/main" id="{7A480E6F-AF30-4D5C-80C3-76210A7C90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4150" y="2168525"/>
            <a:ext cx="3778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7" name="TextBox 35">
            <a:extLst>
              <a:ext uri="{FF2B5EF4-FFF2-40B4-BE49-F238E27FC236}">
                <a16:creationId xmlns:a16="http://schemas.microsoft.com/office/drawing/2014/main" id="{20960BFA-24A1-4578-ABA1-E9ACD5423A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6413" y="2305050"/>
            <a:ext cx="3778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8" name="TextBox 36">
            <a:extLst>
              <a:ext uri="{FF2B5EF4-FFF2-40B4-BE49-F238E27FC236}">
                <a16:creationId xmlns:a16="http://schemas.microsoft.com/office/drawing/2014/main" id="{94746069-E843-47B9-BF1A-0580ACDF5E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24725" y="2574925"/>
            <a:ext cx="3778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39" name="TextBox 37">
            <a:extLst>
              <a:ext uri="{FF2B5EF4-FFF2-40B4-BE49-F238E27FC236}">
                <a16:creationId xmlns:a16="http://schemas.microsoft.com/office/drawing/2014/main" id="{D5253645-336F-415F-B957-555A134F3C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8113" y="2643188"/>
            <a:ext cx="3778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40" name="TextBox 38">
            <a:extLst>
              <a:ext uri="{FF2B5EF4-FFF2-40B4-BE49-F238E27FC236}">
                <a16:creationId xmlns:a16="http://schemas.microsoft.com/office/drawing/2014/main" id="{28C88042-5E7C-4179-AD5B-920BCFA58D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1350" y="3119438"/>
            <a:ext cx="3778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21541" name="TextBox 39">
            <a:extLst>
              <a:ext uri="{FF2B5EF4-FFF2-40B4-BE49-F238E27FC236}">
                <a16:creationId xmlns:a16="http://schemas.microsoft.com/office/drawing/2014/main" id="{70DD49BC-6E4B-4DA2-A041-8542270CB2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3150" y="3525838"/>
            <a:ext cx="3778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193" tIns="44596" rIns="89193" bIns="4459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97" b="1" i="0" u="none" strike="noStrike" kern="1200" cap="none" spc="0" normalizeH="0" baseline="0" noProof="0" dirty="0">
                <a:ln>
                  <a:noFill/>
                </a:ln>
                <a:solidFill>
                  <a:srgbClr val="FEFA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2</a:t>
            </a:r>
          </a:p>
        </p:txBody>
      </p:sp>
      <p:sp>
        <p:nvSpPr>
          <p:cNvPr id="303142" name="TextBox 40">
            <a:extLst>
              <a:ext uri="{FF2B5EF4-FFF2-40B4-BE49-F238E27FC236}">
                <a16:creationId xmlns:a16="http://schemas.microsoft.com/office/drawing/2014/main" id="{1E553689-42AF-43FD-A499-74529B1053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512" y="116632"/>
            <a:ext cx="8712201" cy="1336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193" tIns="44596" rIns="89193" bIns="44596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8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300"/>
              </a:spcBef>
              <a:buClr>
                <a:srgbClr val="B37732"/>
              </a:buClr>
              <a:buSzPct val="85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300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338"/>
              </a:spcBef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anose="05020102010507070707" pitchFamily="18" charset="2"/>
              <a:buChar char="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6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ть проблемы - увеличение объема висцерального жира</a:t>
            </a:r>
            <a:r>
              <a:rPr kumimoji="0" lang="ru-RU" altLang="ru-RU" sz="265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триггера развития резистентности к инсулину</a:t>
            </a:r>
          </a:p>
        </p:txBody>
      </p:sp>
    </p:spTree>
    <p:extLst>
      <p:ext uri="{BB962C8B-B14F-4D97-AF65-F5344CB8AC3E}">
        <p14:creationId xmlns:p14="http://schemas.microsoft.com/office/powerpoint/2010/main" val="2563136979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6" name="Rectangle 2">
            <a:extLst>
              <a:ext uri="{FF2B5EF4-FFF2-40B4-BE49-F238E27FC236}">
                <a16:creationId xmlns:a16="http://schemas.microsoft.com/office/drawing/2014/main" id="{098F5469-A8B1-43C0-AB93-6F30D27FD62F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41488" y="561701"/>
            <a:ext cx="6430963" cy="1143000"/>
          </a:xfrm>
        </p:spPr>
        <p:txBody>
          <a:bodyPr lIns="91440" rIns="91440" bIns="45720"/>
          <a:lstStyle/>
          <a:p>
            <a:pPr algn="ctr" eaLnBrk="1" hangingPunct="1">
              <a:defRPr/>
            </a:pPr>
            <a: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агностические критерии метаболического синдрома                          у женщин </a:t>
            </a:r>
          </a:p>
        </p:txBody>
      </p:sp>
      <p:sp>
        <p:nvSpPr>
          <p:cNvPr id="205827" name="Rectangle 3">
            <a:extLst>
              <a:ext uri="{FF2B5EF4-FFF2-40B4-BE49-F238E27FC236}">
                <a16:creationId xmlns:a16="http://schemas.microsoft.com/office/drawing/2014/main" id="{B38F03C9-0A52-45B0-A40C-91CDF1D47058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539552" y="2132856"/>
            <a:ext cx="8443664" cy="3336925"/>
          </a:xfrm>
        </p:spPr>
        <p:txBody>
          <a:bodyPr/>
          <a:lstStyle/>
          <a:p>
            <a:pPr marL="342900" indent="-342900" eaLnBrk="1" hangingPunct="1">
              <a:buClr>
                <a:srgbClr val="FFFF00"/>
              </a:buClr>
            </a:pPr>
            <a:r>
              <a:rPr lang="ru-RU" altLang="ru-RU" sz="1900" b="1" dirty="0">
                <a:latin typeface="Arial" panose="020B0604020202020204" pitchFamily="34" charset="0"/>
              </a:rPr>
              <a:t>ОТ </a:t>
            </a:r>
            <a:r>
              <a:rPr lang="en-US" altLang="ru-RU" sz="1900" b="1" dirty="0">
                <a:latin typeface="Arial" panose="020B0604020202020204" pitchFamily="34" charset="0"/>
              </a:rPr>
              <a:t>&gt;</a:t>
            </a:r>
            <a:r>
              <a:rPr lang="ru-RU" altLang="ru-RU" sz="1900" b="1" dirty="0">
                <a:latin typeface="Arial" panose="020B0604020202020204" pitchFamily="34" charset="0"/>
              </a:rPr>
              <a:t> или </a:t>
            </a:r>
            <a:r>
              <a:rPr lang="en-US" altLang="ru-RU" sz="1900" b="1" dirty="0">
                <a:latin typeface="Arial" panose="020B0604020202020204" pitchFamily="34" charset="0"/>
              </a:rPr>
              <a:t>=</a:t>
            </a:r>
            <a:r>
              <a:rPr lang="ru-RU" altLang="ru-RU" sz="1900" b="1" dirty="0">
                <a:latin typeface="Arial" panose="020B0604020202020204" pitchFamily="34" charset="0"/>
              </a:rPr>
              <a:t> 80 см (центральное, абдоминальное ожирение)</a:t>
            </a:r>
          </a:p>
          <a:p>
            <a:pPr marL="342900" indent="-342900" eaLnBrk="1" hangingPunct="1">
              <a:buClr>
                <a:srgbClr val="FFFF00"/>
              </a:buClr>
            </a:pPr>
            <a:r>
              <a:rPr lang="ru-RU" altLang="ru-RU" sz="1900" b="1" dirty="0">
                <a:latin typeface="Arial" panose="020B0604020202020204" pitchFamily="34" charset="0"/>
              </a:rPr>
              <a:t>Сочетание с двумя и более следующими отклонениями:</a:t>
            </a:r>
          </a:p>
          <a:p>
            <a:pPr marL="342900" indent="-342900" eaLnBrk="1" hangingPunct="1">
              <a:buNone/>
            </a:pPr>
            <a:r>
              <a:rPr lang="ru-RU" altLang="ru-RU" sz="2200" b="1" dirty="0">
                <a:latin typeface="Arial" panose="020B0604020202020204" pitchFamily="34" charset="0"/>
              </a:rPr>
              <a:t>     </a:t>
            </a:r>
            <a:r>
              <a:rPr lang="ru-RU" altLang="ru-RU" sz="1700" b="1" dirty="0">
                <a:latin typeface="Arial" panose="020B0604020202020204" pitchFamily="34" charset="0"/>
              </a:rPr>
              <a:t>- 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АД </a:t>
            </a:r>
            <a:r>
              <a:rPr lang="en-US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&gt;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140/90 мм </a:t>
            </a:r>
            <a:r>
              <a:rPr lang="ru-RU" altLang="ru-RU" sz="1700" b="1" dirty="0" err="1">
                <a:highlight>
                  <a:srgbClr val="800000"/>
                </a:highlight>
                <a:latin typeface="Arial" panose="020B0604020202020204" pitchFamily="34" charset="0"/>
              </a:rPr>
              <a:t>рт.ст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. </a:t>
            </a:r>
            <a:r>
              <a:rPr lang="ru-RU" altLang="ru-RU" sz="1700" b="1" dirty="0">
                <a:latin typeface="Arial" panose="020B0604020202020204" pitchFamily="34" charset="0"/>
              </a:rPr>
              <a:t>или лечение АГ препаратами</a:t>
            </a:r>
          </a:p>
          <a:p>
            <a:pPr marL="342900" indent="-342900" eaLnBrk="1" hangingPunct="1">
              <a:buNone/>
            </a:pPr>
            <a:r>
              <a:rPr lang="ru-RU" altLang="ru-RU" sz="1700" b="1" dirty="0">
                <a:latin typeface="Arial" panose="020B0604020202020204" pitchFamily="34" charset="0"/>
              </a:rPr>
              <a:t>      -  повышение уровня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триглицеридов (</a:t>
            </a:r>
            <a:r>
              <a:rPr lang="en-US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≥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 1,7 ммоль/л)</a:t>
            </a:r>
          </a:p>
          <a:p>
            <a:pPr marL="342900" indent="-342900" eaLnBrk="1" hangingPunct="1">
              <a:buFont typeface="Wingdings 2" panose="05020102010507070707" pitchFamily="18" charset="2"/>
              <a:buNone/>
            </a:pPr>
            <a:r>
              <a:rPr lang="ru-RU" altLang="ru-RU" sz="1700" b="1" dirty="0">
                <a:latin typeface="Arial" panose="020B0604020202020204" pitchFamily="34" charset="0"/>
              </a:rPr>
              <a:t>      -  снижение уровня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ХС ЛПВП (</a:t>
            </a:r>
            <a:r>
              <a:rPr lang="en-US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&lt;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1,2 ммоль/л)</a:t>
            </a:r>
          </a:p>
          <a:p>
            <a:pPr marL="342900" indent="-342900" eaLnBrk="1" hangingPunct="1">
              <a:buNone/>
            </a:pPr>
            <a:r>
              <a:rPr lang="ru-RU" altLang="ru-RU" sz="1700" b="1" dirty="0">
                <a:latin typeface="Arial" panose="020B0604020202020204" pitchFamily="34" charset="0"/>
              </a:rPr>
              <a:t>      -  повышение уровня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ХС ЛПНП (</a:t>
            </a:r>
            <a:r>
              <a:rPr lang="en-US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&gt;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 3,0 ммоль/л)</a:t>
            </a:r>
          </a:p>
          <a:p>
            <a:pPr marL="342900" indent="-342900" eaLnBrk="1" hangingPunct="1">
              <a:buFont typeface="Wingdings 2" panose="05020102010507070707" pitchFamily="18" charset="2"/>
              <a:buNone/>
            </a:pPr>
            <a:r>
              <a:rPr lang="ru-RU" altLang="ru-RU" sz="1700" b="1" dirty="0">
                <a:latin typeface="Arial" panose="020B0604020202020204" pitchFamily="34" charset="0"/>
              </a:rPr>
              <a:t>      - 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нарушенная гликемия натощак </a:t>
            </a:r>
            <a:r>
              <a:rPr lang="ru-RU" altLang="ru-RU" sz="1700" b="1" dirty="0">
                <a:latin typeface="Arial" panose="020B0604020202020204" pitchFamily="34" charset="0"/>
              </a:rPr>
              <a:t>(НГН) ≥ 6,1 ммоль/л</a:t>
            </a:r>
            <a:endParaRPr lang="en-US" altLang="ru-RU" sz="1700" b="1" dirty="0">
              <a:latin typeface="Arial" panose="020B0604020202020204" pitchFamily="34" charset="0"/>
            </a:endParaRPr>
          </a:p>
          <a:p>
            <a:pPr marL="342900" indent="-342900" eaLnBrk="1" hangingPunct="1">
              <a:buFont typeface="Wingdings 2" panose="05020102010507070707" pitchFamily="18" charset="2"/>
              <a:buNone/>
            </a:pPr>
            <a:r>
              <a:rPr lang="en-US" altLang="ru-RU" sz="1700" b="1" dirty="0">
                <a:latin typeface="Arial" panose="020B0604020202020204" pitchFamily="34" charset="0"/>
              </a:rPr>
              <a:t>     </a:t>
            </a:r>
            <a:r>
              <a:rPr lang="ru-RU" altLang="ru-RU" sz="1700" b="1" dirty="0">
                <a:latin typeface="Arial" panose="020B0604020202020204" pitchFamily="34" charset="0"/>
              </a:rPr>
              <a:t> </a:t>
            </a:r>
            <a:r>
              <a:rPr lang="en-US" altLang="ru-RU" sz="1700" b="1" dirty="0">
                <a:latin typeface="Arial" panose="020B0604020202020204" pitchFamily="34" charset="0"/>
              </a:rPr>
              <a:t>- </a:t>
            </a:r>
            <a:r>
              <a:rPr lang="ru-RU" altLang="ru-RU" sz="1700" b="1" dirty="0">
                <a:latin typeface="Arial" panose="020B0604020202020204" pitchFamily="34" charset="0"/>
              </a:rPr>
              <a:t>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установленный диагноз НТГ</a:t>
            </a:r>
            <a:r>
              <a:rPr lang="en-US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 </a:t>
            </a:r>
            <a:endParaRPr lang="ru-RU" altLang="ru-RU" sz="1700" b="1" dirty="0">
              <a:highlight>
                <a:srgbClr val="800000"/>
              </a:highlight>
              <a:latin typeface="Arial" panose="020B0604020202020204" pitchFamily="34" charset="0"/>
            </a:endParaRPr>
          </a:p>
          <a:p>
            <a:pPr marL="342900" indent="-342900" eaLnBrk="1" hangingPunct="1">
              <a:buFont typeface="Wingdings 2" panose="05020102010507070707" pitchFamily="18" charset="2"/>
              <a:buNone/>
            </a:pPr>
            <a:r>
              <a:rPr lang="ru-RU" altLang="ru-RU" sz="1700" b="1" dirty="0">
                <a:latin typeface="Arial" panose="020B0604020202020204" pitchFamily="34" charset="0"/>
              </a:rPr>
              <a:t>      -  </a:t>
            </a:r>
            <a:r>
              <a:rPr lang="ru-RU" altLang="ru-RU" sz="1700" b="1" dirty="0">
                <a:highlight>
                  <a:srgbClr val="800000"/>
                </a:highlight>
                <a:latin typeface="Arial" panose="020B0604020202020204" pitchFamily="34" charset="0"/>
              </a:rPr>
              <a:t>сочетание НГН и НГТ </a:t>
            </a:r>
          </a:p>
        </p:txBody>
      </p:sp>
      <p:pic>
        <p:nvPicPr>
          <p:cNvPr id="5" name="Picture 4" descr="j0076146">
            <a:extLst>
              <a:ext uri="{FF2B5EF4-FFF2-40B4-BE49-F238E27FC236}">
                <a16:creationId xmlns:a16="http://schemas.microsoft.com/office/drawing/2014/main" id="{4A2C3E16-FA84-4F31-9D4D-D3508DBDAB96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081" y="5016167"/>
            <a:ext cx="2160587" cy="115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26" name="Picture 6" descr="http://www.ihealthcast.com/wp-content/uploads/2013/11/91460553.jpg">
            <a:extLst>
              <a:ext uri="{FF2B5EF4-FFF2-40B4-BE49-F238E27FC236}">
                <a16:creationId xmlns:a16="http://schemas.microsoft.com/office/drawing/2014/main" id="{51211D19-37B1-414D-9130-DA9C91A50E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3060" y="250957"/>
            <a:ext cx="2466975" cy="171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545F9D08-1FDB-43EE-AA32-5B36CDBC05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812" y="6272948"/>
            <a:ext cx="8880376" cy="4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4617B"/>
                  </a:outerShdw>
                </a:effectLst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Рекомендации по ведению больных с метаболическим синдромом. Клинические рекомендации МЗ РФ</a:t>
            </a:r>
          </a:p>
        </p:txBody>
      </p:sp>
      <p:sp>
        <p:nvSpPr>
          <p:cNvPr id="4" name="Стрелка: изогнутая вверх 3">
            <a:extLst>
              <a:ext uri="{FF2B5EF4-FFF2-40B4-BE49-F238E27FC236}">
                <a16:creationId xmlns:a16="http://schemas.microsoft.com/office/drawing/2014/main" id="{D0D48087-30BE-80B6-A7B0-0581156F83B0}"/>
              </a:ext>
            </a:extLst>
          </p:cNvPr>
          <p:cNvSpPr/>
          <p:nvPr/>
        </p:nvSpPr>
        <p:spPr>
          <a:xfrm rot="16724775">
            <a:off x="6661711" y="2976392"/>
            <a:ext cx="3624191" cy="876059"/>
          </a:xfrm>
          <a:prstGeom prst="curved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0E88EA-5CD6-A305-A751-3F41024FC516}"/>
              </a:ext>
            </a:extLst>
          </p:cNvPr>
          <p:cNvSpPr txBox="1"/>
          <p:nvPr/>
        </p:nvSpPr>
        <p:spPr>
          <a:xfrm>
            <a:off x="6084168" y="4725144"/>
            <a:ext cx="2736304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marR="0" lvl="0" indent="-2730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женщин важно                             в любом возрасте!</a:t>
            </a:r>
          </a:p>
          <a:p>
            <a:pPr marL="273050" marR="0" lvl="0" indent="-273050" algn="l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едует выявить                      как можно раньше!</a:t>
            </a:r>
          </a:p>
        </p:txBody>
      </p:sp>
    </p:spTree>
    <p:extLst>
      <p:ext uri="{BB962C8B-B14F-4D97-AF65-F5344CB8AC3E}">
        <p14:creationId xmlns:p14="http://schemas.microsoft.com/office/powerpoint/2010/main" val="35870552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Rectangle 2">
            <a:extLst>
              <a:ext uri="{FF2B5EF4-FFF2-40B4-BE49-F238E27FC236}">
                <a16:creationId xmlns:a16="http://schemas.microsoft.com/office/drawing/2014/main" id="{C7B670E0-BE2E-4086-9678-9AAD4A72C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1469"/>
            <a:ext cx="6202362" cy="1143000"/>
          </a:xfrm>
        </p:spPr>
        <p:txBody>
          <a:bodyPr/>
          <a:lstStyle/>
          <a:p>
            <a:pPr eaLnBrk="1" hangingPunct="1"/>
            <a:r>
              <a:rPr lang="ru-RU" altLang="ru-RU" sz="33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рение и женское здоровье</a:t>
            </a:r>
          </a:p>
        </p:txBody>
      </p:sp>
      <p:sp>
        <p:nvSpPr>
          <p:cNvPr id="294915" name="Rectangle 3">
            <a:extLst>
              <a:ext uri="{FF2B5EF4-FFF2-40B4-BE49-F238E27FC236}">
                <a16:creationId xmlns:a16="http://schemas.microsoft.com/office/drawing/2014/main" id="{0190B89D-B891-4CCD-995C-D61EDB709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092" y="1628800"/>
            <a:ext cx="8288337" cy="4365625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нее половое созревание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асстройства менструации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индром поликистозных яичников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бесплодие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осложнения и неудачи ЭКО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неразвивающаяся беременность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осложнения беременности и родов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ыкидыши и преждевременные роды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асстройства сексуальности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Заболевания молочных желез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r>
              <a:rPr lang="ru-RU" alt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кологические заболевания половых органов</a:t>
            </a:r>
          </a:p>
          <a:p>
            <a:pPr eaLnBrk="1" hangingPunct="1">
              <a:lnSpc>
                <a:spcPct val="90000"/>
              </a:lnSpc>
              <a:spcBef>
                <a:spcPts val="1500"/>
              </a:spcBef>
            </a:pP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4917" name="Рисунок 3">
            <a:extLst>
              <a:ext uri="{FF2B5EF4-FFF2-40B4-BE49-F238E27FC236}">
                <a16:creationId xmlns:a16="http://schemas.microsoft.com/office/drawing/2014/main" id="{4F476C90-509D-40F4-931B-CD24DCA363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3502" y="3429000"/>
            <a:ext cx="2112963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4">
            <a:extLst>
              <a:ext uri="{FF2B5EF4-FFF2-40B4-BE49-F238E27FC236}">
                <a16:creationId xmlns:a16="http://schemas.microsoft.com/office/drawing/2014/main" id="{AA4CA895-430A-4151-B8DC-91A2F639A7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4704" y="320057"/>
            <a:ext cx="3031577" cy="2028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46854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0567" y="1916832"/>
            <a:ext cx="6152702" cy="371157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79512" y="404664"/>
            <a:ext cx="87849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ие ожирения у женщин повышает частоту депрессии и тревожности (по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DS)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94271" y="6238305"/>
            <a:ext cx="571182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.S.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gure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t al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urnal of Affective Disorders 253 (2019) 385–393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igitte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eners</a:t>
            </a:r>
            <a:r>
              <a:rPr kumimoji="0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. Human Reproduction Update, Vol.23, No.3 pp. 300–321, 2017</a:t>
            </a:r>
            <a:endParaRPr kumimoji="0" lang="ru-RU" sz="11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5786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703" y="2173530"/>
            <a:ext cx="4164631" cy="289294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4892" y="298125"/>
            <a:ext cx="7547387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жирение ускоряет процессы старе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72000" y="3942600"/>
            <a:ext cx="43721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Δ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E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разница между биологическим и эпигенетическим возрастом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91" y="1089472"/>
            <a:ext cx="5218701" cy="97785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232193" y="6383867"/>
            <a:ext cx="478207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pio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valaine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valaine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Clinical Epigenetics (2017) 9:20 </a:t>
            </a:r>
          </a:p>
        </p:txBody>
      </p:sp>
      <p:sp>
        <p:nvSpPr>
          <p:cNvPr id="10" name="4 Rectángulo redondeado"/>
          <p:cNvSpPr/>
          <p:nvPr/>
        </p:nvSpPr>
        <p:spPr>
          <a:xfrm>
            <a:off x="1115616" y="5173190"/>
            <a:ext cx="7488832" cy="1040701"/>
          </a:xfrm>
          <a:prstGeom prst="roundRect">
            <a:avLst>
              <a:gd name="adj" fmla="val 11137"/>
            </a:avLst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ие ожирения ассоциировано с ускорением эпигенетического старения у людей старше 25 лет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122" name="Picture 2" descr="https://doc.by/assets/uploads/2018/09/vozrast-1000x600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5088" y="1104671"/>
            <a:ext cx="3293019" cy="1975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12045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10" name="Rectangle 2">
            <a:extLst>
              <a:ext uri="{FF2B5EF4-FFF2-40B4-BE49-F238E27FC236}">
                <a16:creationId xmlns:a16="http://schemas.microsoft.com/office/drawing/2014/main" id="{72DF9C10-54E3-4FC7-B8EF-0465F5A188B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533400" y="1447800"/>
            <a:ext cx="8229600" cy="4533900"/>
          </a:xfrm>
        </p:spPr>
        <p:txBody>
          <a:bodyPr/>
          <a:lstStyle/>
          <a:p>
            <a:pPr algn="ctr" eaLnBrk="1" hangingPunct="1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ешение проблемы веса – </a:t>
            </a:r>
          </a:p>
          <a:p>
            <a:pPr algn="ctr" eaLnBrk="1" hangingPunct="1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лечение не ожирения, а лечение человека»</a:t>
            </a:r>
          </a:p>
          <a:p>
            <a:pPr algn="ctr" eaLnBrk="1" hangingPunct="1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ru-RU" altLang="ru-RU" b="1">
                <a:latin typeface="Arial" panose="020B0604020202020204" pitchFamily="34" charset="0"/>
                <a:cs typeface="Arial" panose="020B0604020202020204" pitchFamily="34" charset="0"/>
              </a:rPr>
              <a:t>					        </a:t>
            </a:r>
            <a:r>
              <a:rPr lang="ru-RU" altLang="ru-RU" sz="28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-р Морис Ларок </a:t>
            </a:r>
          </a:p>
        </p:txBody>
      </p:sp>
    </p:spTree>
    <p:extLst>
      <p:ext uri="{BB962C8B-B14F-4D97-AF65-F5344CB8AC3E}">
        <p14:creationId xmlns:p14="http://schemas.microsoft.com/office/powerpoint/2010/main" val="20220510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>
            <a:extLst>
              <a:ext uri="{FF2B5EF4-FFF2-40B4-BE49-F238E27FC236}">
                <a16:creationId xmlns:a16="http://schemas.microsoft.com/office/drawing/2014/main" id="{B6DCA958-8C7D-40BE-B093-B203473A81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112560"/>
            <a:ext cx="6223317" cy="2716128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31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31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31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31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228" name="Rectangle 5">
            <a:extLst>
              <a:ext uri="{FF2B5EF4-FFF2-40B4-BE49-F238E27FC236}">
                <a16:creationId xmlns:a16="http://schemas.microsoft.com/office/drawing/2014/main" id="{9855DEBB-ACDA-4B69-A823-8E65496FA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536" y="1988840"/>
            <a:ext cx="5328592" cy="3527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ета (</a:t>
            </a: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ол №8 по Певзнеру)</a:t>
            </a: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/ коррекция рациона (</a:t>
            </a: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цательный калораж + терапевтически значимое изменение химического состава пищи</a:t>
            </a: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рекция пищевого поведения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зическая нагрузка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дикаментозная терапия 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стетические методы коррекции (аппаратная косметология)</a:t>
            </a:r>
          </a:p>
          <a:p>
            <a:pPr marL="361950" marR="0" lvl="0" indent="-36195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ирургические методы</a:t>
            </a:r>
            <a:endParaRPr kumimoji="0" lang="en-US" altLang="ru-RU" sz="19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 useBgFill="1">
        <p:nvSpPr>
          <p:cNvPr id="52227" name="Text Box 4">
            <a:extLst>
              <a:ext uri="{FF2B5EF4-FFF2-40B4-BE49-F238E27FC236}">
                <a16:creationId xmlns:a16="http://schemas.microsoft.com/office/drawing/2014/main" id="{358BBEBB-D3CF-43F9-B03F-A28CC9D57E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520" y="188640"/>
            <a:ext cx="5760640" cy="1431161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anose="030F0702030302020204" pitchFamily="66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9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оды коррекции избыточной массы тела                    и ожирения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04074EB-EB51-4A40-B367-850E995E8A1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32" y="3573016"/>
            <a:ext cx="4152275" cy="3114206"/>
          </a:xfrm>
          <a:prstGeom prst="rect">
            <a:avLst/>
          </a:prstGeom>
        </p:spPr>
      </p:pic>
      <p:pic>
        <p:nvPicPr>
          <p:cNvPr id="3" name="Рисунок 1">
            <a:extLst>
              <a:ext uri="{FF2B5EF4-FFF2-40B4-BE49-F238E27FC236}">
                <a16:creationId xmlns:a16="http://schemas.microsoft.com/office/drawing/2014/main" id="{DD24E5EA-79D0-45DA-9368-E0C1686F7B7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9983" y="228600"/>
            <a:ext cx="3028430" cy="21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528397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3E47ECEE-64D9-14D9-EEF0-2E0CDEF99100}"/>
              </a:ext>
            </a:extLst>
          </p:cNvPr>
          <p:cNvSpPr txBox="1">
            <a:spLocks noChangeArrowheads="1"/>
          </p:cNvSpPr>
          <p:nvPr/>
        </p:nvSpPr>
        <p:spPr>
          <a:xfrm>
            <a:off x="486086" y="2204864"/>
            <a:ext cx="8171827" cy="4319588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грессирующее постарение населения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21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kumimoji="1" lang="ru-RU" sz="21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сроченное</a:t>
            </a:r>
            <a:r>
              <a:rPr kumimoji="1" lang="ru-RU" sz="2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материнство (первые роды после 30 лет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нижение уровня соматического здоровья у молодежи</a:t>
            </a:r>
          </a:p>
          <a:p>
            <a:pPr marL="342900" indent="-342900" eaLnBrk="1" hangingPunct="1">
              <a:spcBef>
                <a:spcPts val="9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1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еадекватное и нерациональное питание</a:t>
            </a:r>
          </a:p>
          <a:p>
            <a:pPr marL="342900" indent="-342900" eaLnBrk="1" hangingPunct="1">
              <a:spcBef>
                <a:spcPts val="9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1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изкая физическая активность населения, гиподинамия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сокая распространенность эндокринных заболеваний и нарушений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215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высокая распространенность </a:t>
            </a:r>
            <a:r>
              <a:rPr kumimoji="1" lang="ru-RU" sz="2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редных привычек</a:t>
            </a:r>
          </a:p>
          <a:p>
            <a:pPr marL="365760" marR="0" lvl="0" indent="-36576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ru-RU" sz="21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760" marR="0" lvl="0" indent="-36576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1" lang="ru-RU" sz="21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F45B617A-90E5-4EA7-BB0A-E0DF0B8260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870" y="476672"/>
            <a:ext cx="599533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продуктивное здоровье россиян сегодня: грани проблемы</a:t>
            </a:r>
            <a:endParaRPr kumimoji="1" lang="ru-RU" sz="2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292" name="Рисунок 4" descr="539w.jpg">
            <a:extLst>
              <a:ext uri="{FF2B5EF4-FFF2-40B4-BE49-F238E27FC236}">
                <a16:creationId xmlns:a16="http://schemas.microsoft.com/office/drawing/2014/main" id="{68E0CBD4-A02F-6736-B2D8-853F5C5E172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304" y="4005064"/>
            <a:ext cx="14732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BD545DB-4C33-A31F-9AE6-E82AFCC20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1683" y="233046"/>
            <a:ext cx="2618741" cy="14677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7" name="Объект 2">
            <a:extLst>
              <a:ext uri="{FF2B5EF4-FFF2-40B4-BE49-F238E27FC236}">
                <a16:creationId xmlns:a16="http://schemas.microsoft.com/office/drawing/2014/main" id="{0359BA2A-2406-4341-ADA1-8F53763446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223838"/>
            <a:ext cx="8207375" cy="1512887"/>
          </a:xfrm>
        </p:spPr>
        <p:txBody>
          <a:bodyPr/>
          <a:lstStyle/>
          <a:p>
            <a:pPr marL="0" indent="0" algn="ctr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ах существуют рекомендации                 по снижению веса женщинам с ожирением, планирующим беременность</a:t>
            </a:r>
            <a:endParaRPr lang="ru-RU" altLang="ru-RU" sz="2700" b="1" baseline="30000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3829" name="Группа 5">
            <a:extLst>
              <a:ext uri="{FF2B5EF4-FFF2-40B4-BE49-F238E27FC236}">
                <a16:creationId xmlns:a16="http://schemas.microsoft.com/office/drawing/2014/main" id="{75C59AA2-D4EA-4361-AB81-037A76A46ABB}"/>
              </a:ext>
            </a:extLst>
          </p:cNvPr>
          <p:cNvGrpSpPr>
            <a:grpSpLocks/>
          </p:cNvGrpSpPr>
          <p:nvPr/>
        </p:nvGrpSpPr>
        <p:grpSpPr bwMode="auto">
          <a:xfrm>
            <a:off x="347812" y="1556792"/>
            <a:ext cx="5634319" cy="4952432"/>
            <a:chOff x="392889" y="1314711"/>
            <a:chExt cx="4610316" cy="3940172"/>
          </a:xfrm>
        </p:grpSpPr>
        <p:pic>
          <p:nvPicPr>
            <p:cNvPr id="333831" name="Picture 2">
              <a:extLst>
                <a:ext uri="{FF2B5EF4-FFF2-40B4-BE49-F238E27FC236}">
                  <a16:creationId xmlns:a16="http://schemas.microsoft.com/office/drawing/2014/main" id="{F560B7CD-BE10-4670-A8F0-900106FACD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89" y="1314711"/>
              <a:ext cx="2253063" cy="325156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3830" name="Picture 4">
              <a:extLst>
                <a:ext uri="{FF2B5EF4-FFF2-40B4-BE49-F238E27FC236}">
                  <a16:creationId xmlns:a16="http://schemas.microsoft.com/office/drawing/2014/main" id="{98078C09-6D3D-42D1-9B3A-1D54F05BBF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6829" y="1761399"/>
              <a:ext cx="2236376" cy="325156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9506A9F-7CC3-47D9-9F8D-7BFB128785A3}"/>
                </a:ext>
              </a:extLst>
            </p:cNvPr>
            <p:cNvSpPr/>
            <p:nvPr/>
          </p:nvSpPr>
          <p:spPr>
            <a:xfrm>
              <a:off x="1047605" y="3901082"/>
              <a:ext cx="2803177" cy="1353801"/>
            </a:xfrm>
            <a:prstGeom prst="rect">
              <a:avLst/>
            </a:prstGeom>
            <a:solidFill>
              <a:srgbClr val="0000CC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Женщинам с ожирением рекомендовано снижение веса                              на 5-10% в течение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-6 месяцев перед наступлением беременности</a:t>
              </a: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87A41FF-9069-4FB3-927B-1272FFFB794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9856" y="2616891"/>
            <a:ext cx="2779774" cy="39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139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18" name="Rectangle 2">
            <a:extLst>
              <a:ext uri="{FF2B5EF4-FFF2-40B4-BE49-F238E27FC236}">
                <a16:creationId xmlns:a16="http://schemas.microsoft.com/office/drawing/2014/main" id="{EC177C64-7847-4675-B89A-1714AD37C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45073"/>
            <a:ext cx="6781800" cy="1143000"/>
          </a:xfrm>
        </p:spPr>
        <p:txBody>
          <a:bodyPr/>
          <a:lstStyle/>
          <a:p>
            <a:pPr eaLnBrk="1" hangingPunct="1"/>
            <a:r>
              <a:rPr lang="ru-RU" alt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массы тела в </a:t>
            </a:r>
            <a:r>
              <a:rPr lang="ru-RU" altLang="ru-RU" sz="29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онцепционный</a:t>
            </a:r>
            <a:r>
              <a:rPr lang="ru-RU" alt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иод</a:t>
            </a:r>
          </a:p>
        </p:txBody>
      </p:sp>
      <p:sp>
        <p:nvSpPr>
          <p:cNvPr id="134147" name="Rectangle 3">
            <a:extLst>
              <a:ext uri="{FF2B5EF4-FFF2-40B4-BE49-F238E27FC236}">
                <a16:creationId xmlns:a16="http://schemas.microsoft.com/office/drawing/2014/main" id="{90A78DEE-E4ED-48B2-89C6-F722A6C017A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72257" y="1204253"/>
            <a:ext cx="7828135" cy="4144963"/>
          </a:xfrm>
        </p:spPr>
        <p:txBody>
          <a:bodyPr rtlCol="0">
            <a:noAutofit/>
          </a:bodyPr>
          <a:lstStyle/>
          <a:p>
            <a:pPr marL="0" indent="0" eaLnBrk="1" fontAlgn="auto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екция рациона/диетотерапия (диет стол №8)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ые физические нагрузки (с учетом риска                 для сосудов и опорно-двигательного аппарата)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екция эндокринных нарушений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каментозная терапия ожирения                                          (</a:t>
            </a:r>
            <a:r>
              <a:rPr lang="ru-RU" altLang="ru-RU" sz="19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бутрамин</a:t>
            </a: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МКЦ, </a:t>
            </a:r>
            <a:r>
              <a:rPr lang="ru-RU" altLang="ru-RU" sz="19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раглутид</a:t>
            </a: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9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листат</a:t>
            </a: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                         коррекция ИР (</a:t>
            </a:r>
            <a:r>
              <a:rPr lang="ru-RU" altLang="ru-RU" sz="19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формин</a:t>
            </a: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озитол?)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рургические методы (?)</a:t>
            </a:r>
          </a:p>
          <a:p>
            <a:pPr marL="265113" indent="-265113" eaLnBrk="1" fontAlgn="auto" hangingPunct="1">
              <a:spcBef>
                <a:spcPts val="12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altLang="ru-RU" sz="1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</a:t>
            </a:r>
          </a:p>
        </p:txBody>
      </p:sp>
      <p:pic>
        <p:nvPicPr>
          <p:cNvPr id="342020" name="Рисунок 3">
            <a:extLst>
              <a:ext uri="{FF2B5EF4-FFF2-40B4-BE49-F238E27FC236}">
                <a16:creationId xmlns:a16="http://schemas.microsoft.com/office/drawing/2014/main" id="{85207B4F-FBF6-42C4-8A64-4A08A824EFA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0152" y="4809364"/>
            <a:ext cx="2827698" cy="168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3B052BF-A058-41A4-A81E-5D306915DB22}"/>
              </a:ext>
            </a:extLst>
          </p:cNvPr>
          <p:cNvSpPr/>
          <p:nvPr/>
        </p:nvSpPr>
        <p:spPr>
          <a:xfrm>
            <a:off x="0" y="5452195"/>
            <a:ext cx="5678760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Коррекция </a:t>
            </a:r>
            <a:r>
              <a:rPr kumimoji="0" lang="ru-RU" sz="1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коморбидных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заболеваний и патологических состояний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включая </a:t>
            </a:r>
            <a:r>
              <a:rPr kumimoji="0" lang="ru-RU" sz="19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нутриентные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 дефициты</a:t>
            </a:r>
            <a:endParaRPr kumimoji="0" lang="ru-RU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8000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Стрелка: вниз 6">
            <a:extLst>
              <a:ext uri="{FF2B5EF4-FFF2-40B4-BE49-F238E27FC236}">
                <a16:creationId xmlns:a16="http://schemas.microsoft.com/office/drawing/2014/main" id="{13CE527E-CE7E-4B4F-AA8B-38D07CF280C4}"/>
              </a:ext>
            </a:extLst>
          </p:cNvPr>
          <p:cNvSpPr/>
          <p:nvPr/>
        </p:nvSpPr>
        <p:spPr bwMode="auto">
          <a:xfrm>
            <a:off x="2195736" y="4794808"/>
            <a:ext cx="864096" cy="676687"/>
          </a:xfrm>
          <a:prstGeom prst="downArrow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CD445F0-A178-4E36-80DF-2D4FC4F5CC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2" y="2492896"/>
            <a:ext cx="1502225" cy="214654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5A2B4BB-F11D-36CA-DE9F-7ED0C30E12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3" y="188640"/>
            <a:ext cx="1512168" cy="2189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675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4647F2-762F-4CD9-BFD3-BEE77A5F1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692696"/>
            <a:ext cx="8532948" cy="990600"/>
          </a:xfrm>
        </p:spPr>
        <p:txBody>
          <a:bodyPr/>
          <a:lstStyle/>
          <a:p>
            <a:pPr algn="ctr">
              <a:defRPr/>
            </a:pPr>
            <a:r>
              <a:rPr lang="ru-RU" sz="2700" b="1" dirty="0" err="1">
                <a:solidFill>
                  <a:srgbClr val="FFFF00"/>
                </a:solidFill>
                <a:latin typeface="+mn-lt"/>
              </a:rPr>
              <a:t>Нутрицевтики</a:t>
            </a:r>
            <a:r>
              <a:rPr lang="ru-RU" sz="2700" b="1" dirty="0">
                <a:solidFill>
                  <a:srgbClr val="FFFF00"/>
                </a:solidFill>
                <a:latin typeface="+mn-lt"/>
              </a:rPr>
              <a:t> и их </a:t>
            </a:r>
            <a:r>
              <a:rPr kumimoji="1" lang="ru-RU" sz="2700" b="1" kern="1200" dirty="0">
                <a:solidFill>
                  <a:srgbClr val="FFFF00"/>
                </a:solidFill>
                <a:latin typeface="+mn-lt"/>
              </a:rPr>
              <a:t>комбинации, </a:t>
            </a:r>
            <a:r>
              <a:rPr lang="ru-RU" sz="2700" b="1" dirty="0">
                <a:solidFill>
                  <a:srgbClr val="FFFF00"/>
                </a:solidFill>
                <a:latin typeface="+mn-lt"/>
              </a:rPr>
              <a:t>доказательно </a:t>
            </a:r>
            <a:r>
              <a:rPr kumimoji="1" lang="ru-RU" sz="2700" b="1" kern="1200" dirty="0">
                <a:solidFill>
                  <a:srgbClr val="FFFF00"/>
                </a:solidFill>
                <a:latin typeface="+mn-lt"/>
              </a:rPr>
              <a:t>эффективные для снижения веса и коррекции инсулинорезистентности</a:t>
            </a:r>
            <a:endParaRPr lang="ru-RU" sz="2700" dirty="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6" name="Объект 7">
            <a:extLst>
              <a:ext uri="{FF2B5EF4-FFF2-40B4-BE49-F238E27FC236}">
                <a16:creationId xmlns:a16="http://schemas.microsoft.com/office/drawing/2014/main" id="{55BDB5E0-8275-4B56-9794-AD4FE4436D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2276872"/>
            <a:ext cx="7200800" cy="3009553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фолиевая кислота, </a:t>
            </a:r>
            <a:r>
              <a:rPr lang="ru-RU" sz="2100" b="1" dirty="0" err="1">
                <a:latin typeface="Arial" panose="020B0604020202020204" pitchFamily="34" charset="0"/>
                <a:cs typeface="Arial" panose="020B0604020202020204" pitchFamily="34" charset="0"/>
              </a:rPr>
              <a:t>метафолин</a:t>
            </a:r>
            <a:endParaRPr lang="en-US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мио-инозитол, </a:t>
            </a:r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100" b="1" dirty="0" err="1">
                <a:latin typeface="Arial" panose="020B0604020202020204" pitchFamily="34" charset="0"/>
                <a:cs typeface="Arial" panose="020B0604020202020204" pitchFamily="34" charset="0"/>
              </a:rPr>
              <a:t>хиро</a:t>
            </a: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-инозитол</a:t>
            </a:r>
            <a:endParaRPr lang="en-US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витамин </a:t>
            </a:r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, кальций</a:t>
            </a:r>
            <a:endParaRPr lang="en-US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омега-3 кислоты</a:t>
            </a: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хрома </a:t>
            </a:r>
            <a:r>
              <a:rPr lang="ru-RU" sz="2100" b="1" dirty="0" err="1">
                <a:latin typeface="Arial" panose="020B0604020202020204" pitchFamily="34" charset="0"/>
                <a:cs typeface="Arial" panose="020B0604020202020204" pitchFamily="34" charset="0"/>
              </a:rPr>
              <a:t>пиколинат</a:t>
            </a:r>
            <a:endParaRPr lang="ru-RU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таурин</a:t>
            </a: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 err="1">
                <a:latin typeface="Arial" panose="020B0604020202020204" pitchFamily="34" charset="0"/>
                <a:cs typeface="Arial" panose="020B0604020202020204" pitchFamily="34" charset="0"/>
              </a:rPr>
              <a:t>куркумин</a:t>
            </a:r>
            <a:endParaRPr lang="ru-RU" sz="2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  <a:buClr>
                <a:srgbClr val="FFFF00"/>
              </a:buClr>
              <a:buSzPct val="123000"/>
              <a:buFont typeface="+mj-lt"/>
              <a:buAutoNum type="arabicPeriod"/>
            </a:pPr>
            <a:r>
              <a:rPr lang="ru-RU" sz="2100" b="1" dirty="0">
                <a:latin typeface="Arial" panose="020B0604020202020204" pitchFamily="34" charset="0"/>
                <a:cs typeface="Arial" panose="020B0604020202020204" pitchFamily="34" charset="0"/>
              </a:rPr>
              <a:t>??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FD0C1F-1CB6-77A0-F63D-FCCD3E326A1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4008" y="4221088"/>
            <a:ext cx="3779912" cy="188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55226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8C65D14-7188-4AEF-B506-B03D72E8AFE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1575875"/>
            <a:ext cx="5328592" cy="251052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CA68171-3B78-41ED-BB59-3C335BEF6C7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5976" y="3922860"/>
            <a:ext cx="4536504" cy="2602484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B269B01-64F1-49FC-9A83-B30064B950C0}"/>
              </a:ext>
            </a:extLst>
          </p:cNvPr>
          <p:cNvSpPr txBox="1">
            <a:spLocks/>
          </p:cNvSpPr>
          <p:nvPr/>
        </p:nvSpPr>
        <p:spPr>
          <a:xfrm>
            <a:off x="251520" y="188640"/>
            <a:ext cx="6189698" cy="93633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Что рекомендуют эндокринологи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9E111A67-D140-4FF6-ABC5-1D5E44272BB7}"/>
              </a:ext>
            </a:extLst>
          </p:cNvPr>
          <p:cNvSpPr/>
          <p:nvPr/>
        </p:nvSpPr>
        <p:spPr>
          <a:xfrm>
            <a:off x="206515" y="2679640"/>
            <a:ext cx="5157573" cy="936333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BE8EA5B5-5D3C-4AE7-8FF5-1B35C56E5119}"/>
              </a:ext>
            </a:extLst>
          </p:cNvPr>
          <p:cNvSpPr/>
          <p:nvPr/>
        </p:nvSpPr>
        <p:spPr>
          <a:xfrm>
            <a:off x="4396684" y="5662100"/>
            <a:ext cx="4471000" cy="792149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7826" name="Picture 2">
            <a:extLst>
              <a:ext uri="{FF2B5EF4-FFF2-40B4-BE49-F238E27FC236}">
                <a16:creationId xmlns:a16="http://schemas.microsoft.com/office/drawing/2014/main" id="{87E9F949-7CAB-4B33-8D92-48385B6B31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584" y="4341163"/>
            <a:ext cx="3042084" cy="211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2C86B50-C7B5-4CBB-BEED-7FF726835F8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297" y="218652"/>
            <a:ext cx="1830439" cy="271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998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>
            <a:extLst>
              <a:ext uri="{FF2B5EF4-FFF2-40B4-BE49-F238E27FC236}">
                <a16:creationId xmlns:a16="http://schemas.microsoft.com/office/drawing/2014/main" id="{F260C565-F5C9-64B8-814D-DAFE1F116E4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337"/>
          </a:xfrm>
        </p:spPr>
        <p:txBody>
          <a:bodyPr/>
          <a:lstStyle/>
          <a:p>
            <a:pPr algn="ctr" eaLnBrk="1" hangingPunct="1"/>
            <a:r>
              <a:rPr lang="ru-RU" altLang="ru-RU" sz="3200" b="1">
                <a:solidFill>
                  <a:srgbClr val="FFFF00"/>
                </a:solidFill>
              </a:rPr>
              <a:t>Что такое физическая активность?</a:t>
            </a:r>
            <a:endParaRPr lang="en-US" altLang="ru-RU" sz="3200" b="1">
              <a:solidFill>
                <a:srgbClr val="FFFF00"/>
              </a:solidFill>
            </a:endParaRPr>
          </a:p>
        </p:txBody>
      </p:sp>
      <p:sp>
        <p:nvSpPr>
          <p:cNvPr id="9219" name="Rectangle 8">
            <a:extLst>
              <a:ext uri="{FF2B5EF4-FFF2-40B4-BE49-F238E27FC236}">
                <a16:creationId xmlns:a16="http://schemas.microsoft.com/office/drawing/2014/main" id="{9C893F41-639E-8B7D-18E5-7D734387A459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77386" y="1556792"/>
            <a:ext cx="8436316" cy="4454525"/>
          </a:xfrm>
        </p:spPr>
        <p:txBody>
          <a:bodyPr/>
          <a:lstStyle/>
          <a:p>
            <a:pPr marL="0" indent="0" algn="ctr" eaLnBrk="1" hangingPunct="1">
              <a:spcBef>
                <a:spcPts val="0"/>
              </a:spcBef>
              <a:buFontTx/>
              <a:buNone/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то любые движения тела при помощи мышечной </a:t>
            </a:r>
          </a:p>
          <a:p>
            <a:pPr marL="0" indent="0" algn="ctr" eaLnBrk="1" hangingPunct="1">
              <a:spcBef>
                <a:spcPts val="0"/>
              </a:spcBef>
              <a:buFontTx/>
              <a:buNone/>
              <a:defRPr/>
            </a:pP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илы, сопровождающиеся расходом энергии, включая физическую активность на работе, в свободное время, а также обычные виды ежедневной физической активности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0A39509-3526-0487-02F8-00AB5DADDC6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9118" y="3172855"/>
            <a:ext cx="5032851" cy="314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9381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4">
            <a:extLst>
              <a:ext uri="{FF2B5EF4-FFF2-40B4-BE49-F238E27FC236}">
                <a16:creationId xmlns:a16="http://schemas.microsoft.com/office/drawing/2014/main" id="{B49A132E-EC87-4887-8D5A-A64F36218D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43608" y="216998"/>
            <a:ext cx="7344816" cy="11430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нимальный уровень физической активности </a:t>
            </a:r>
            <a:endParaRPr lang="en-US" sz="31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243" name="Rectangle 5">
            <a:extLst>
              <a:ext uri="{FF2B5EF4-FFF2-40B4-BE49-F238E27FC236}">
                <a16:creationId xmlns:a16="http://schemas.microsoft.com/office/drawing/2014/main" id="{A44F898A-F26E-4A53-B45A-5B7EF2038C8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30120" y="1632006"/>
            <a:ext cx="8406376" cy="4484687"/>
          </a:xfrm>
        </p:spPr>
        <p:txBody>
          <a:bodyPr/>
          <a:lstStyle/>
          <a:p>
            <a:pPr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тот уровень достигается при регулярных занятиях умеренной или высокой интенсивности, при которых тратится в общей сложности </a:t>
            </a:r>
            <a:r>
              <a:rPr 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</a:rPr>
              <a:t>150 ккал в день</a:t>
            </a:r>
            <a:r>
              <a:rPr 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что при ежедневных занятиях соответствует энергозатратам около </a:t>
            </a:r>
            <a:r>
              <a:rPr 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</a:rPr>
              <a:t>1 000 ккал в неделю</a:t>
            </a:r>
            <a:endParaRPr lang="ru-RU" sz="21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ительность занятий до достижения минимальной физической активности зависит от их интенсивности</a:t>
            </a:r>
          </a:p>
          <a:p>
            <a:pPr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r"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r"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r"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en-US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BE323D7-60AC-488B-A624-11BF22A4DC91}"/>
              </a:ext>
            </a:extLst>
          </p:cNvPr>
          <p:cNvSpPr/>
          <p:nvPr/>
        </p:nvSpPr>
        <p:spPr>
          <a:xfrm>
            <a:off x="630120" y="6019369"/>
            <a:ext cx="82615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ysical Activity and Health. A Report of the Surgeon General. U.S. Department of Health and Human Services. </a:t>
            </a:r>
            <a:r>
              <a:rPr kumimoji="1" lang="en-US" sz="9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es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Disease Control and Prevention. National Centre for Chronic Disease Prevention and Health Promotion. The President's Council on Physical Fitness and Sport, 1996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960170-18C7-FF67-EF7E-48360B42BE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7744" y="4486476"/>
            <a:ext cx="5012213" cy="1260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:a16="http://schemas.microsoft.com/office/drawing/2014/main" id="{7613DCEE-4FF1-4E99-9547-94B67FF5BE7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11188" y="476250"/>
            <a:ext cx="5256956" cy="587375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33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то такое 150 ккал </a:t>
            </a:r>
            <a:endParaRPr lang="en-US" sz="33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9E8E1589-3E3E-4EDD-8786-6ACFD77DE3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67518" y="1706668"/>
            <a:ext cx="8208963" cy="3738556"/>
          </a:xfrm>
        </p:spPr>
        <p:txBody>
          <a:bodyPr/>
          <a:lstStyle/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 минут подъема по лестнице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 минут бега (1,5-2 км)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 минут езды на велосипеде (6 км со скоростью 20 км/ч)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 минут игры в баскетбол и 45 минут - в волейбол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 минут плавания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 минут пешком (2,5 км со скоростью 10 км/ч)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 минут быстрых танцев</a:t>
            </a:r>
          </a:p>
          <a:p>
            <a:pPr eaLnBrk="1" hangingPunct="1">
              <a:spcBef>
                <a:spcPts val="1200"/>
              </a:spcBef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5 минут мойки окон или пола</a:t>
            </a:r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</a:t>
            </a:r>
          </a:p>
          <a:p>
            <a:pPr algn="r" eaLnBrk="1" hangingPunct="1"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218" name="Picture 2" descr="https://pbs.twimg.com/media/DUWssFKX0AEuEbh.jpg">
            <a:extLst>
              <a:ext uri="{FF2B5EF4-FFF2-40B4-BE49-F238E27FC236}">
                <a16:creationId xmlns:a16="http://schemas.microsoft.com/office/drawing/2014/main" id="{F7363C34-ED1B-41FE-87A6-8D10EBA189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1683" y="295360"/>
            <a:ext cx="3302715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BFC013F-66D1-451A-8515-67719CA31B1D}"/>
              </a:ext>
            </a:extLst>
          </p:cNvPr>
          <p:cNvSpPr/>
          <p:nvPr/>
        </p:nvSpPr>
        <p:spPr>
          <a:xfrm>
            <a:off x="241241" y="5903601"/>
            <a:ext cx="86431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ysical Activity and Health. A Report of the Surgeon General. U.S. Department of Health and Human Services. </a:t>
            </a:r>
            <a:r>
              <a:rPr kumimoji="1" lang="en-US" sz="9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es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Disease Control and Prevention. National Centre for Chronic Disease Prevention and Health Promotion. The President's Council on Physical Fitness and Sport, 1996 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>
            <a:extLst>
              <a:ext uri="{FF2B5EF4-FFF2-40B4-BE49-F238E27FC236}">
                <a16:creationId xmlns:a16="http://schemas.microsoft.com/office/drawing/2014/main" id="{82DA187F-B869-4B46-B476-E8CC5ECE8636}"/>
              </a:ext>
            </a:extLst>
          </p:cNvPr>
          <p:cNvGraphicFramePr>
            <a:graphicFrameLocks noGrp="1" noChangeAspect="1"/>
          </p:cNvGraphicFramePr>
          <p:nvPr>
            <p:ph idx="1"/>
          </p:nvPr>
        </p:nvGraphicFramePr>
        <p:xfrm>
          <a:off x="401788" y="545422"/>
          <a:ext cx="8177212" cy="5487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E663F93-A7C1-4FAB-8137-949F069DD56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501650"/>
            <a:ext cx="8964613" cy="1081088"/>
          </a:xfrm>
          <a:solidFill>
            <a:srgbClr val="003300"/>
          </a:solidFill>
        </p:spPr>
        <p:txBody>
          <a:bodyPr/>
          <a:lstStyle/>
          <a:p>
            <a:pPr algn="ctr" eaLnBrk="1" hangingPunct="1">
              <a:defRPr/>
            </a:pPr>
            <a:r>
              <a:rPr lang="ru-RU" sz="32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мональный ответ на упражнения</a:t>
            </a:r>
            <a:br>
              <a:rPr lang="ru-RU" sz="32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9DCF2738-44AD-47BD-ACFE-5A5662A9C6CF}"/>
              </a:ext>
            </a:extLst>
          </p:cNvPr>
          <p:cNvSpPr/>
          <p:nvPr/>
        </p:nvSpPr>
        <p:spPr>
          <a:xfrm>
            <a:off x="3320511" y="1772816"/>
            <a:ext cx="2304082" cy="360042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06885" name="Номер слайда 1">
            <a:extLst>
              <a:ext uri="{FF2B5EF4-FFF2-40B4-BE49-F238E27FC236}">
                <a16:creationId xmlns:a16="http://schemas.microsoft.com/office/drawing/2014/main" id="{2E632072-CD89-44F9-92EC-1938D0383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224FE7-7FEC-4160-89D7-D748DB56DD59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45C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srgbClr val="045C7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32F0DD-19F1-47B6-8EE6-625D0EF524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93" y="479028"/>
            <a:ext cx="8964613" cy="1081088"/>
          </a:xfrm>
          <a:prstGeom prst="rect">
            <a:avLst/>
          </a:prstGeom>
          <a:solidFill>
            <a:srgbClr val="0033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j-ea"/>
                <a:cs typeface="+mj-cs"/>
              </a:rPr>
              <a:t>Гормональный ответ на упражнения</a:t>
            </a:r>
            <a:b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j-ea"/>
                <a:cs typeface="+mj-cs"/>
              </a:rPr>
            </a:br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j-ea"/>
              <a:cs typeface="+mj-cs"/>
            </a:endParaRPr>
          </a:p>
        </p:txBody>
      </p:sp>
      <p:sp useBgFill="1">
        <p:nvSpPr>
          <p:cNvPr id="5" name="Прямоугольник 4">
            <a:extLst>
              <a:ext uri="{FF2B5EF4-FFF2-40B4-BE49-F238E27FC236}">
                <a16:creationId xmlns:a16="http://schemas.microsoft.com/office/drawing/2014/main" id="{8F69EB80-2C83-4B2F-9CF2-0FD7C9C3A7B1}"/>
              </a:ext>
            </a:extLst>
          </p:cNvPr>
          <p:cNvSpPr/>
          <p:nvPr/>
        </p:nvSpPr>
        <p:spPr>
          <a:xfrm>
            <a:off x="179387" y="6077181"/>
            <a:ext cx="88518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жно: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аксимальная ЧСС = 220 - возраст</a:t>
            </a:r>
            <a:endParaRPr kumimoji="1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0CF0275-C0AA-470B-8DA0-3B3D522346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9810" y="4260999"/>
            <a:ext cx="1954697" cy="1328242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15F636D6-0814-CC56-2C87-271E3B13B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0444" y="2928230"/>
            <a:ext cx="1944216" cy="72237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uLnTx/>
                <a:uFillTx/>
                <a:latin typeface="Arial" charset="0"/>
                <a:ea typeface="+mj-ea"/>
                <a:cs typeface="+mj-cs"/>
              </a:rPr>
              <a:t>Идеальное время для тренировок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uLnTx/>
              <a:uFillTx/>
              <a:latin typeface="Arial" charset="0"/>
              <a:ea typeface="+mj-ea"/>
              <a:cs typeface="+mj-cs"/>
            </a:endParaRPr>
          </a:p>
        </p:txBody>
      </p:sp>
      <p:sp>
        <p:nvSpPr>
          <p:cNvPr id="9" name="Стрелка: вниз 8">
            <a:extLst>
              <a:ext uri="{FF2B5EF4-FFF2-40B4-BE49-F238E27FC236}">
                <a16:creationId xmlns:a16="http://schemas.microsoft.com/office/drawing/2014/main" id="{95CE3893-2FA3-4D0B-FA03-4BE002DEED4D}"/>
              </a:ext>
            </a:extLst>
          </p:cNvPr>
          <p:cNvSpPr/>
          <p:nvPr/>
        </p:nvSpPr>
        <p:spPr>
          <a:xfrm>
            <a:off x="4355976" y="3789040"/>
            <a:ext cx="360040" cy="122413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4C570D28-031D-4D9C-AC48-FE67E33EF4E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315913"/>
            <a:ext cx="8158163" cy="633412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зические упражнения могут снизить:</a:t>
            </a:r>
            <a:endParaRPr lang="en-US" sz="31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47D11395-1D39-4BB2-BA45-E50970288CE5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00200"/>
            <a:ext cx="7427913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 массы тела</a:t>
            </a: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</a:t>
            </a: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лю общего и</a:t>
            </a: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бдоминального жира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кружность талии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сулинорезистентность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ртериальное давление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ипиды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иск рака молочной железы и </a:t>
            </a:r>
            <a:r>
              <a:rPr lang="ru-RU" sz="2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лоректального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рака</a:t>
            </a:r>
          </a:p>
          <a:p>
            <a:pPr algn="ctr" eaLnBrk="1" hangingPunct="1">
              <a:lnSpc>
                <a:spcPct val="90000"/>
              </a:lnSpc>
              <a:buClr>
                <a:srgbClr val="CC3399"/>
              </a:buClr>
              <a:buFont typeface="Wingdings" pitchFamily="2" charset="2"/>
              <a:buNone/>
              <a:defRPr/>
            </a:pPr>
            <a:r>
              <a:rPr lang="ru-RU" sz="25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  повысить: </a:t>
            </a:r>
          </a:p>
          <a:p>
            <a:pPr algn="ctr" eaLnBrk="1" hangingPunct="1">
              <a:lnSpc>
                <a:spcPct val="90000"/>
              </a:lnSpc>
              <a:buClr>
                <a:srgbClr val="FFFF00"/>
              </a:buClr>
              <a:buSzPct val="123000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дельный вес мышечной и костной систем (снижение риска </a:t>
            </a:r>
            <a:r>
              <a:rPr lang="ru-RU" sz="2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теопороза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  <a:p>
            <a:pPr algn="ctr" eaLnBrk="1" hangingPunct="1">
              <a:lnSpc>
                <a:spcPct val="90000"/>
              </a:lnSpc>
              <a:buClr>
                <a:srgbClr val="CC3399"/>
              </a:buClr>
              <a:buFontTx/>
              <a:buNone/>
              <a:defRPr/>
            </a:pPr>
            <a:r>
              <a:rPr lang="ru-RU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  улучшить: </a:t>
            </a: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гнитивные функции</a:t>
            </a:r>
          </a:p>
          <a:p>
            <a:pPr eaLnBrk="1" hangingPunct="1">
              <a:lnSpc>
                <a:spcPct val="90000"/>
              </a:lnSpc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ункцию эндотелия</a:t>
            </a: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олщина </a:t>
            </a:r>
            <a:r>
              <a:rPr lang="ru-RU" sz="2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тима-медиа</a:t>
            </a: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buClr>
                <a:srgbClr val="CC3399"/>
              </a:buClr>
              <a:defRPr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7284" name="Rectangle 4">
            <a:extLst>
              <a:ext uri="{FF2B5EF4-FFF2-40B4-BE49-F238E27FC236}">
                <a16:creationId xmlns:a16="http://schemas.microsoft.com/office/drawing/2014/main" id="{45BC0A86-9A5F-499D-A938-855C148D553A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7740650" y="1557338"/>
            <a:ext cx="946150" cy="2979737"/>
          </a:xfrm>
          <a:prstGeom prst="downArrow">
            <a:avLst>
              <a:gd name="adj1" fmla="val 50000"/>
              <a:gd name="adj2" fmla="val 119543"/>
            </a:avLst>
          </a:prstGeom>
          <a:solidFill>
            <a:srgbClr val="FF0000"/>
          </a:solidFill>
          <a:ln w="12700">
            <a:solidFill>
              <a:srgbClr val="FF3300"/>
            </a:solidFill>
            <a:miter lim="800000"/>
            <a:headEnd type="none" w="sm" len="sm"/>
            <a:tailEnd type="none" w="sm" len="sm"/>
          </a:ln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en-US" altLang="ru-RU" sz="1800">
              <a:latin typeface="Arial" panose="020B0604020202020204" pitchFamily="34" charset="0"/>
            </a:endParaRPr>
          </a:p>
        </p:txBody>
      </p:sp>
      <p:sp>
        <p:nvSpPr>
          <p:cNvPr id="737285" name="Стрелка вверх 4">
            <a:extLst>
              <a:ext uri="{FF2B5EF4-FFF2-40B4-BE49-F238E27FC236}">
                <a16:creationId xmlns:a16="http://schemas.microsoft.com/office/drawing/2014/main" id="{D3DAB1B4-E470-4AD8-B416-7D10CF98C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088" y="4797425"/>
            <a:ext cx="792162" cy="1439863"/>
          </a:xfrm>
          <a:prstGeom prst="upArrow">
            <a:avLst>
              <a:gd name="adj1" fmla="val 50000"/>
              <a:gd name="adj2" fmla="val 49985"/>
            </a:avLst>
          </a:prstGeom>
          <a:solidFill>
            <a:srgbClr val="FF0000"/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7286" name="Номер слайда 1">
            <a:extLst>
              <a:ext uri="{FF2B5EF4-FFF2-40B4-BE49-F238E27FC236}">
                <a16:creationId xmlns:a16="http://schemas.microsoft.com/office/drawing/2014/main" id="{539A0837-C2F9-4383-ACFD-F283B0EAD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CA9FEC6-3691-4801-A411-7C5C024A5A56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45C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srgbClr val="045C7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4">
            <a:extLst>
              <a:ext uri="{FF2B5EF4-FFF2-40B4-BE49-F238E27FC236}">
                <a16:creationId xmlns:a16="http://schemas.microsoft.com/office/drawing/2014/main" id="{B436AD17-F736-493B-6118-6E209B667C4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2" y="1340768"/>
            <a:ext cx="1200939" cy="1831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203697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>
            <a:extLst>
              <a:ext uri="{FF2B5EF4-FFF2-40B4-BE49-F238E27FC236}">
                <a16:creationId xmlns:a16="http://schemas.microsoft.com/office/drawing/2014/main" id="{7C50B346-3B1A-2901-576F-41CD792499D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38150" y="845828"/>
            <a:ext cx="6696075" cy="9906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33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з жизни и снижение рисков для здоровья: научные данные </a:t>
            </a:r>
            <a:endParaRPr lang="en-US" sz="33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275" name="Rectangle 3">
            <a:extLst>
              <a:ext uri="{FF2B5EF4-FFF2-40B4-BE49-F238E27FC236}">
                <a16:creationId xmlns:a16="http://schemas.microsoft.com/office/drawing/2014/main" id="{C37B554F-3205-C7ED-C7DC-F750D839AC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51520" y="2060848"/>
            <a:ext cx="8259613" cy="2520999"/>
          </a:xfrm>
        </p:spPr>
        <p:txBody>
          <a:bodyPr/>
          <a:lstStyle/>
          <a:p>
            <a:pPr algn="ctr" eaLnBrk="1" hangingPunct="1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Symbol" pitchFamily="18" charset="2"/>
              </a:rPr>
              <a:t> 80 000 американских медсестер, ведущих                            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sym typeface="Symbol" pitchFamily="18" charset="2"/>
              </a:rPr>
              <a:t>«здоровый» образ жизни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Symbol" pitchFamily="18" charset="2"/>
              </a:rPr>
              <a:t> (отказ от курения,  нормальный индекс массы тела, умеренное потребление алкоголя, физическая активность, превышающая средний уровень, сбалансированная диета) при </a:t>
            </a:r>
            <a:r>
              <a:rPr lang="ru-RU" sz="19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Symbol" pitchFamily="18" charset="2"/>
              </a:rPr>
              <a:t>проспективном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Symbol" pitchFamily="18" charset="2"/>
              </a:rPr>
              <a:t> наблюдении выявлено </a:t>
            </a:r>
            <a:r>
              <a:rPr lang="ru-RU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sym typeface="Symbol" pitchFamily="18" charset="2"/>
              </a:rPr>
              <a:t>снижение риска развития ишемической болезни сердца на 83% и сахарного диабета - на 91%</a:t>
            </a:r>
          </a:p>
          <a:p>
            <a:pPr algn="r" eaLnBrk="1" hangingPunct="1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Symbol" pitchFamily="18" charset="2"/>
              </a:rPr>
              <a:t> </a:t>
            </a:r>
          </a:p>
          <a:p>
            <a:pPr eaLnBrk="1" hangingPunct="1">
              <a:lnSpc>
                <a:spcPct val="150000"/>
              </a:lnSpc>
              <a:spcBef>
                <a:spcPts val="0"/>
              </a:spcBef>
              <a:defRPr/>
            </a:pPr>
            <a:endParaRPr lang="ru-RU" sz="1200" i="1" dirty="0"/>
          </a:p>
          <a:p>
            <a:pPr eaLnBrk="1" hangingPunct="1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2772" name="Picture 10" descr="j0186002">
            <a:extLst>
              <a:ext uri="{FF2B5EF4-FFF2-40B4-BE49-F238E27FC236}">
                <a16:creationId xmlns:a16="http://schemas.microsoft.com/office/drawing/2014/main" id="{B4D3D0EC-A15B-FDC1-287D-D1990E075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3938" y="323267"/>
            <a:ext cx="1331912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4AB20B-BB2A-87DB-4304-4C41BB4DB42B}"/>
              </a:ext>
            </a:extLst>
          </p:cNvPr>
          <p:cNvSpPr txBox="1"/>
          <p:nvPr/>
        </p:nvSpPr>
        <p:spPr>
          <a:xfrm>
            <a:off x="107504" y="5589240"/>
            <a:ext cx="87849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eaLnBrk="1" hangingPunct="1">
              <a:spcBef>
                <a:spcPts val="0"/>
              </a:spcBef>
              <a:buFontTx/>
              <a:buNone/>
              <a:defRPr/>
            </a:pPr>
            <a:endParaRPr lang="ru-RU" sz="9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  <a:sym typeface="Symbol" pitchFamily="18" charset="2"/>
            </a:endParaRPr>
          </a:p>
          <a:p>
            <a:pPr algn="r" eaLnBrk="1" hangingPunct="1">
              <a:spcBef>
                <a:spcPts val="0"/>
              </a:spcBef>
              <a:buFontTx/>
              <a:buNone/>
              <a:defRPr/>
            </a:pP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Hu FB et al. Diet, lifestyle, and the risk of type 2 diabetes mellitus in women. N </a:t>
            </a:r>
            <a:r>
              <a:rPr lang="en-US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Engl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 J Med 2001;345:790-7</a:t>
            </a:r>
          </a:p>
          <a:p>
            <a:pPr algn="r" eaLnBrk="1" hangingPunct="1">
              <a:spcBef>
                <a:spcPts val="0"/>
              </a:spcBef>
              <a:buFontTx/>
              <a:buNone/>
              <a:defRPr/>
            </a:pPr>
            <a:r>
              <a:rPr lang="en-US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Stampfer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 MJ et al.  Primary prevention of coronary heart disease in women through diet and lifestyle. N </a:t>
            </a:r>
            <a:r>
              <a:rPr lang="en-US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Engl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 J Med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2000;343:16-22</a:t>
            </a:r>
            <a:endParaRPr lang="ru-RU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buFontTx/>
              <a:buNone/>
              <a:defRPr/>
            </a:pP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Oh K et al.  Dietary fat intake and risk of coronary heart disease in women: 20 years of follow-up of the nurses’ health study. Am J Epidemiol 2005;161:672-9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8D27BC-EC4B-D984-2FDC-C97791BE6A6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1340768"/>
            <a:ext cx="6408712" cy="43225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EA49407-EE1F-58A5-1011-C3D0ED950910}"/>
              </a:ext>
            </a:extLst>
          </p:cNvPr>
          <p:cNvSpPr txBox="1"/>
          <p:nvPr/>
        </p:nvSpPr>
        <p:spPr>
          <a:xfrm>
            <a:off x="4139952" y="6237312"/>
            <a:ext cx="45238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dzen.ru/a/YkPwH0uxSV3Ri4b_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CD00A12-2262-B9C4-7BC6-EDD571D08A4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4" y="4365104"/>
            <a:ext cx="2987824" cy="1562632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C7DFA677-BD41-FAAA-0EFD-FD6F39A72D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6256" y="260648"/>
            <a:ext cx="2071379" cy="1216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EFB1518F-90AB-3023-E75F-A921B90A4D7A}"/>
              </a:ext>
            </a:extLst>
          </p:cNvPr>
          <p:cNvSpPr/>
          <p:nvPr/>
        </p:nvSpPr>
        <p:spPr bwMode="auto">
          <a:xfrm>
            <a:off x="827584" y="3861048"/>
            <a:ext cx="4896544" cy="1728192"/>
          </a:xfrm>
          <a:prstGeom prst="roundRect">
            <a:avLst/>
          </a:prstGeom>
          <a:noFill/>
          <a:ln w="476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31859C"/>
              </a:solidFill>
              <a:effectLst/>
              <a:uLnTx/>
              <a:uFillTx/>
              <a:latin typeface="Times New Roman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4ACD205A-1B0B-FBA8-A1D3-F6E3A42D1D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36185"/>
            <a:ext cx="7021038" cy="106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тарше трудоспособного» - 24,1%</a:t>
            </a:r>
          </a:p>
        </p:txBody>
      </p:sp>
    </p:spTree>
    <p:extLst>
      <p:ext uri="{BB962C8B-B14F-4D97-AF65-F5344CB8AC3E}">
        <p14:creationId xmlns:p14="http://schemas.microsoft.com/office/powerpoint/2010/main" val="209580257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1A41BC-F48B-4FC9-8860-DBDD205A5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60648"/>
            <a:ext cx="8163606" cy="957654"/>
          </a:xfrm>
        </p:spPr>
        <p:txBody>
          <a:bodyPr/>
          <a:lstStyle/>
          <a:p>
            <a:pPr algn="ctr"/>
            <a:r>
              <a:rPr 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лица норм Егорова- Левицкого: взаимосвязь между весом и возрастом (!)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210ADEA-B9C5-42AA-93C2-6CE70D8786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65" y="1412776"/>
            <a:ext cx="7068269" cy="507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3318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3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467544" y="1628800"/>
            <a:ext cx="8424936" cy="4929188"/>
          </a:xfrm>
        </p:spPr>
        <p:txBody>
          <a:bodyPr/>
          <a:lstStyle/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красота и здоровье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ЖЕНЩИНЫ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 могут напрямую                                         зависеть от размера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ТАЛИИ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работать над собой нужно с молодых лет –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ВОЗРАСТ РАБОТАЕТ ПРОТИВ ЖЕНЩИНЫ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до 65 лет диагноз ожирения можно поставить </a:t>
            </a:r>
            <a:r>
              <a:rPr lang="en-US" sz="185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by yourself</a:t>
            </a:r>
            <a:endParaRPr lang="ru-RU" sz="1850" b="1" i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ОЖИРЕНИЕ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 – это вялотекущий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ВОСПАЛИТЕЛЬНЫЙ ПРОЦЕСС БИОТЕРРОРИСТИЧЕСКОЙ НАПРАВЛЕННОСТИ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!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ожирение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МОЛОДЫХ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 – это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УДАР ПО ЗДОРОВЬЮ И РАЗУМУ НАЦИИ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при сочетании с ожирением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ЛЮБЫЕ БОЛЕЗНИ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, в том числе гинекологические, имеют более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НЕБЛАГОПРИЯТНЫЙ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 прогноз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нужно </a:t>
            </a:r>
            <a:r>
              <a:rPr lang="ru-RU" sz="185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ЛЮБИТЬ СЕБЯ, А НЕ СВОЙ ЖИР </a:t>
            </a: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– он сам себя не любит</a:t>
            </a:r>
          </a:p>
          <a:p>
            <a:pPr marL="261938" indent="-261938" eaLnBrk="1" hangingPunct="1">
              <a:spcBef>
                <a:spcPts val="1500"/>
              </a:spcBef>
              <a:buFont typeface="Arial" charset="0"/>
              <a:buChar char="•"/>
              <a:defRPr/>
            </a:pPr>
            <a:r>
              <a:rPr lang="ru-RU" sz="18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800000"/>
                </a:highlight>
                <a:latin typeface="Arial" charset="0"/>
                <a:cs typeface="Arial" charset="0"/>
              </a:rPr>
              <a:t>ЖЕНЩИНА всегда МОЖЕТ РАССЧИТЫВАТЬ НА ГИНЕКОЛОГА!!!  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179512" y="188640"/>
            <a:ext cx="7020272" cy="102393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Что нужно запомнить: </a:t>
            </a:r>
            <a:endParaRPr kumimoji="0" lang="ru-RU" sz="33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Рисунок 9" descr="14977338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6296" y="260648"/>
            <a:ext cx="1512168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8902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3359D59-6959-4AA2-A945-66ADC13C643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5162" y="1052736"/>
            <a:ext cx="3389513" cy="3059633"/>
          </a:xfrm>
          <a:prstGeom prst="rect">
            <a:avLst/>
          </a:prstGeom>
        </p:spPr>
      </p:pic>
      <p:pic>
        <p:nvPicPr>
          <p:cNvPr id="74754" name="Picture 2">
            <a:extLst>
              <a:ext uri="{FF2B5EF4-FFF2-40B4-BE49-F238E27FC236}">
                <a16:creationId xmlns:a16="http://schemas.microsoft.com/office/drawing/2014/main" id="{8B860BD2-B921-4129-87A4-2D23A4752F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2527" y="3933056"/>
            <a:ext cx="2880320" cy="2138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0994" name="Заголовок 1">
            <a:extLst>
              <a:ext uri="{FF2B5EF4-FFF2-40B4-BE49-F238E27FC236}">
                <a16:creationId xmlns:a16="http://schemas.microsoft.com/office/drawing/2014/main" id="{EFF63F12-9D46-44F3-8066-2C1680781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1633" y="198439"/>
            <a:ext cx="4558155" cy="638274"/>
          </a:xfrm>
        </p:spPr>
        <p:txBody>
          <a:bodyPr/>
          <a:lstStyle/>
          <a:p>
            <a:r>
              <a:rPr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о обследоваться               у врача до зачатия!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FFA951F-F2F9-4B42-95F5-CF1061CAEB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533" y="5193024"/>
            <a:ext cx="3802420" cy="13684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табилизация массы тела                      в идеале должна быть достигнута за 2-3 месяца до условного зачатия</a:t>
            </a:r>
            <a:b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340996" name="Рисунок 4">
            <a:extLst>
              <a:ext uri="{FF2B5EF4-FFF2-40B4-BE49-F238E27FC236}">
                <a16:creationId xmlns:a16="http://schemas.microsoft.com/office/drawing/2014/main" id="{0F9183CA-D1E9-4E86-873B-BEBA36F0BE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018" y="517576"/>
            <a:ext cx="1673225" cy="255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6E13B576-4C0B-47FA-89E7-D0D464CC8F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8184" y="5168544"/>
            <a:ext cx="2740985" cy="13684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Целевым показателем служит ИМТ менее 30 (если это достижимо)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A64545D-3664-3A28-D21F-2160EFC7731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7607" y="332657"/>
            <a:ext cx="2110826" cy="3059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8238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>
            <a:extLst>
              <a:ext uri="{FF2B5EF4-FFF2-40B4-BE49-F238E27FC236}">
                <a16:creationId xmlns:a16="http://schemas.microsoft.com/office/drawing/2014/main" id="{B1AF0052-E1A5-9BD0-15F4-7F8F5A0FF6A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8809" y="621308"/>
            <a:ext cx="8280400" cy="8636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b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</a:br>
            <a: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А когда Вы в последний раз                 посещали гинеколога?</a:t>
            </a:r>
          </a:p>
        </p:txBody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8495AA33-CE11-A19C-A276-98C2C46405D4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48196" y="1844824"/>
            <a:ext cx="7921625" cy="4070350"/>
          </a:xfrm>
        </p:spPr>
        <p:txBody>
          <a:bodyPr>
            <a:normAutofit/>
          </a:bodyPr>
          <a:lstStyle/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пределах полугода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этом году в рамках диспансеризации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этом году по причине жалоб 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8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Уж и не помню, когд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82B501D-6038-CA7B-38A1-4D71CF1135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341" y="3980780"/>
            <a:ext cx="3383868" cy="225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2006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>
            <a:extLst>
              <a:ext uri="{FF2B5EF4-FFF2-40B4-BE49-F238E27FC236}">
                <a16:creationId xmlns:a16="http://schemas.microsoft.com/office/drawing/2014/main" id="{B1AF0052-E1A5-9BD0-15F4-7F8F5A0FF6A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8809" y="621308"/>
            <a:ext cx="8280400" cy="8636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b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</a:br>
            <a:r>
              <a:rPr lang="ru-RU" sz="31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А когда Вы в последний раз                  посещали гинеколога?</a:t>
            </a:r>
          </a:p>
        </p:txBody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8495AA33-CE11-A19C-A276-98C2C46405D4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827584" y="1730478"/>
            <a:ext cx="7921625" cy="4070350"/>
          </a:xfrm>
        </p:spPr>
        <p:txBody>
          <a:bodyPr>
            <a:normAutofit/>
          </a:bodyPr>
          <a:lstStyle/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пределах полугода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этом году в рамках диспансеризации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2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</a:rPr>
              <a:t>В этом году по причине жалоб </a:t>
            </a:r>
          </a:p>
          <a:p>
            <a:pPr marL="457200" indent="-457200" eaLnBrk="1" hangingPunct="1">
              <a:lnSpc>
                <a:spcPct val="150000"/>
              </a:lnSpc>
              <a:spcBef>
                <a:spcPts val="1800"/>
              </a:spcBef>
              <a:buFontTx/>
              <a:buAutoNum type="arabicParenR"/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</a:rPr>
              <a:t>Уж и не помню, когда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F5481F4B-B216-0811-B278-C071629E4A2C}"/>
              </a:ext>
            </a:extLst>
          </p:cNvPr>
          <p:cNvSpPr txBox="1">
            <a:spLocks noChangeArrowheads="1"/>
          </p:cNvSpPr>
          <p:nvPr/>
        </p:nvSpPr>
        <p:spPr>
          <a:xfrm>
            <a:off x="-2161380" y="1370562"/>
            <a:ext cx="9942038" cy="8636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algn="ctr" defTabSz="685800" fontAlgn="auto">
              <a:spcBef>
                <a:spcPts val="1350"/>
              </a:spcBef>
              <a:spcAft>
                <a:spcPts val="0"/>
              </a:spcAft>
              <a:defRPr/>
            </a:pPr>
            <a:r>
              <a:rPr kumimoji="0" lang="ru-RU" sz="17400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rPr>
              <a:t>Х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BAB5EB1-99AD-E5C1-685F-60D01AE6EF6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80" y="4149080"/>
            <a:ext cx="3457129" cy="2286692"/>
          </a:xfrm>
          <a:prstGeom prst="rect">
            <a:avLst/>
          </a:prstGeom>
        </p:spPr>
      </p:pic>
      <p:sp>
        <p:nvSpPr>
          <p:cNvPr id="5" name="Rectangle 2">
            <a:extLst>
              <a:ext uri="{FF2B5EF4-FFF2-40B4-BE49-F238E27FC236}">
                <a16:creationId xmlns:a16="http://schemas.microsoft.com/office/drawing/2014/main" id="{B0F6504F-AF58-AD21-8EC6-77D9C5910A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809" y="5454806"/>
            <a:ext cx="4549756" cy="692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br>
              <a:rPr kumimoji="0" lang="ru-RU" sz="1900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</a:br>
            <a:r>
              <a:rPr kumimoji="0" lang="ru-RU" sz="1900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</a:rPr>
              <a:t>Без малого четверть пациенток гинекологического отделения поступают </a:t>
            </a:r>
            <a:r>
              <a:rPr kumimoji="0" lang="ru-RU" sz="1900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в больницу                                    </a:t>
            </a:r>
            <a:r>
              <a:rPr kumimoji="0" lang="ru-RU" sz="1900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</a:rPr>
              <a:t>с маточным кровотечением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10A2059-BA95-F26C-C5CB-0C22915A87EF}"/>
              </a:ext>
            </a:extLst>
          </p:cNvPr>
          <p:cNvSpPr/>
          <p:nvPr/>
        </p:nvSpPr>
        <p:spPr>
          <a:xfrm>
            <a:off x="404544" y="4797152"/>
            <a:ext cx="4614022" cy="1466812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240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5E75BB9F-9BB2-405F-9901-D4E624A0C053}"/>
              </a:ext>
            </a:extLst>
          </p:cNvPr>
          <p:cNvSpPr/>
          <p:nvPr/>
        </p:nvSpPr>
        <p:spPr>
          <a:xfrm>
            <a:off x="6345621" y="2071598"/>
            <a:ext cx="2317531" cy="1544686"/>
          </a:xfrm>
          <a:prstGeom prst="roundRect">
            <a:avLst>
              <a:gd name="adj" fmla="val 0"/>
            </a:avLst>
          </a:prstGeom>
          <a:solidFill>
            <a:srgbClr val="F4CB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Заголовок 2">
            <a:extLst>
              <a:ext uri="{FF2B5EF4-FFF2-40B4-BE49-F238E27FC236}">
                <a16:creationId xmlns:a16="http://schemas.microsoft.com/office/drawing/2014/main" id="{6E588A4D-C173-4169-AE68-DBE5C5714AB0}"/>
              </a:ext>
            </a:extLst>
          </p:cNvPr>
          <p:cNvSpPr txBox="1">
            <a:spLocks/>
          </p:cNvSpPr>
          <p:nvPr/>
        </p:nvSpPr>
        <p:spPr bwMode="invGray">
          <a:xfrm>
            <a:off x="307428" y="419450"/>
            <a:ext cx="853702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defTabSz="685800" eaLnBrk="1" hangingPunct="1">
              <a:tabLst>
                <a:tab pos="134541" algn="l"/>
              </a:tabLst>
              <a:defRPr/>
            </a:pPr>
            <a:r>
              <a:rPr lang="ru-RU" sz="2800" b="1" dirty="0">
                <a:solidFill>
                  <a:srgbClr val="FFFF00"/>
                </a:solidFill>
              </a:rPr>
              <a:t>Обильные менструальные кровотечения (ОMК) определяются их влиянием на качество жизни женщины</a:t>
            </a:r>
            <a:r>
              <a:rPr lang="en-US" sz="2800" b="1" baseline="30000" dirty="0">
                <a:solidFill>
                  <a:srgbClr val="FFFF00"/>
                </a:solidFill>
              </a:rPr>
              <a:t>1</a:t>
            </a:r>
            <a:endParaRPr lang="ru-RU" sz="2800" b="1" baseline="30000" dirty="0">
              <a:solidFill>
                <a:prstClr val="black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99238B-866D-47DE-B7E7-5EB2989F7C13}"/>
              </a:ext>
            </a:extLst>
          </p:cNvPr>
          <p:cNvSpPr txBox="1"/>
          <p:nvPr/>
        </p:nvSpPr>
        <p:spPr bwMode="gray">
          <a:xfrm>
            <a:off x="388726" y="2087660"/>
            <a:ext cx="5746531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3" algn="ctr" defTabSz="685800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92D050"/>
              </a:buClr>
              <a:defRPr/>
            </a:pPr>
            <a:r>
              <a:rPr kumimoji="0" lang="ru-RU" sz="1800" b="1" dirty="0">
                <a:solidFill>
                  <a:prstClr val="white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Обильные менструальные кровотечения </a:t>
            </a:r>
            <a:r>
              <a:rPr kumimoji="0"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МК) </a:t>
            </a:r>
          </a:p>
          <a:p>
            <a:pPr marL="0" lvl="3" algn="ctr" defTabSz="685800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92D050"/>
              </a:buClr>
              <a:defRPr/>
            </a:pPr>
            <a:r>
              <a:rPr kumimoji="0" lang="ru-RU" sz="1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инируют</a:t>
            </a:r>
            <a:r>
              <a:rPr kumimoji="0"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к избыточную менструальную </a:t>
            </a:r>
          </a:p>
          <a:p>
            <a:pPr marL="0" lvl="3" algn="ctr" defTabSz="685800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92D050"/>
              </a:buClr>
              <a:defRPr/>
            </a:pPr>
            <a:r>
              <a:rPr kumimoji="0" lang="ru-RU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вопотерю, которая влияет на  физическое, эмоциональное, социальное и материальное качество жизни женщины</a:t>
            </a:r>
            <a:r>
              <a:rPr kumimoji="0" lang="de-DE" sz="1800" b="1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de-DE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833ADC-1BF3-4B0F-9B3B-D05D07BB59FA}"/>
              </a:ext>
            </a:extLst>
          </p:cNvPr>
          <p:cNvSpPr txBox="1"/>
          <p:nvPr/>
        </p:nvSpPr>
        <p:spPr>
          <a:xfrm>
            <a:off x="3285020" y="6153178"/>
            <a:ext cx="5559436" cy="1149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>
              <a:defRPr sz="700"/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GB" sz="825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 NICE Heavy Menstrual Bleeding Clinical Guideline 44, 2007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00AA6AB-4BDB-448A-AC21-499699C66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8835" y="2184068"/>
            <a:ext cx="1972982" cy="1304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665A426-A07D-F5B3-B390-A0B83AE67A5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951" y="4083398"/>
            <a:ext cx="2096814" cy="20599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3BD104-20BF-9846-2FC9-195091DDCCDF}"/>
              </a:ext>
            </a:extLst>
          </p:cNvPr>
          <p:cNvSpPr txBox="1"/>
          <p:nvPr/>
        </p:nvSpPr>
        <p:spPr>
          <a:xfrm>
            <a:off x="4339459" y="6311114"/>
            <a:ext cx="4572000" cy="219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sz="825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http://sophist.hse.ru/db/oprview.shtml?T=S&amp;S=964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66079EB-03C3-A825-1AF5-ACD811885BD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991" y="4344314"/>
            <a:ext cx="4761187" cy="153814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5C2AEF4-72B6-A710-42B2-5A84632C90CE}"/>
              </a:ext>
            </a:extLst>
          </p:cNvPr>
          <p:cNvSpPr txBox="1"/>
          <p:nvPr/>
        </p:nvSpPr>
        <p:spPr>
          <a:xfrm>
            <a:off x="4548352" y="5113388"/>
            <a:ext cx="457200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Стрелка: вверх 14">
            <a:extLst>
              <a:ext uri="{FF2B5EF4-FFF2-40B4-BE49-F238E27FC236}">
                <a16:creationId xmlns:a16="http://schemas.microsoft.com/office/drawing/2014/main" id="{D5F76779-3FEF-4B8A-3D9B-C2C9F77B7007}"/>
              </a:ext>
            </a:extLst>
          </p:cNvPr>
          <p:cNvSpPr/>
          <p:nvPr/>
        </p:nvSpPr>
        <p:spPr>
          <a:xfrm>
            <a:off x="4183618" y="3678214"/>
            <a:ext cx="676414" cy="470866"/>
          </a:xfrm>
          <a:prstGeom prst="up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kumimoji="0"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5471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25EBFB0-84FA-420E-AE71-6D877CBB6760}"/>
              </a:ext>
            </a:extLst>
          </p:cNvPr>
          <p:cNvSpPr/>
          <p:nvPr/>
        </p:nvSpPr>
        <p:spPr>
          <a:xfrm>
            <a:off x="6064808" y="3632885"/>
            <a:ext cx="2661406" cy="191081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200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C2DA3F-3046-4BC8-998E-08F17FFD87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775" y="504099"/>
            <a:ext cx="8036771" cy="1034429"/>
          </a:xfrm>
        </p:spPr>
        <p:txBody>
          <a:bodyPr vert="horz" lIns="0" tIns="0" rIns="0" bIns="0" rtlCol="0" anchor="t">
            <a:noAutofit/>
          </a:bodyPr>
          <a:lstStyle/>
          <a:p>
            <a:pPr defTabSz="685664"/>
            <a:r>
              <a:rPr lang="ru-RU" sz="28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ильные менструации – «проторенный путь» к дефициту железа и анеми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5E36AF8-3D14-40EA-BB92-921B76ED0A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0655" y="1454666"/>
            <a:ext cx="8290439" cy="550742"/>
          </a:xfrm>
        </p:spPr>
        <p:txBody>
          <a:bodyPr>
            <a:noAutofit/>
          </a:bodyPr>
          <a:lstStyle/>
          <a:p>
            <a:pPr marL="128588" indent="-128588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ценке самих женщин репродуктивного возраста, обильные менструации    встречаются у 25-50% из них</a:t>
            </a:r>
            <a:r>
              <a:rPr lang="ru-RU" sz="14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r>
              <a:rPr lang="en-US" sz="14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25% женщин страдают ЖДА из-за ОМК, а доля пациенток с латентным дефицитом железа, когда показатели гемоглобина еще в норме, – еще больше </a:t>
            </a:r>
            <a:r>
              <a:rPr lang="ru-RU" sz="1400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EE37D5-97AD-43DA-BD2B-848226243307}"/>
              </a:ext>
            </a:extLst>
          </p:cNvPr>
          <p:cNvSpPr txBox="1"/>
          <p:nvPr/>
        </p:nvSpPr>
        <p:spPr>
          <a:xfrm>
            <a:off x="201010" y="6004567"/>
            <a:ext cx="87419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ep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, 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boer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, van der 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nden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, et al. The impact of menstrual symptoms on everyday life: a survey among 42,879 women. </a:t>
            </a:r>
            <a:r>
              <a:rPr kumimoji="0" lang="ru-RU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kumimoji="0" lang="ru-RU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tet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necol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;220(6):569 e1- e7</a:t>
            </a:r>
            <a:endParaRPr kumimoji="0" lang="ru-RU" sz="6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E.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G88: Heavy Menstrual Bleeding: assessment and management National Institute for Health and Clinical Excellence (NICE), 2018.</a:t>
            </a:r>
            <a:endParaRPr kumimoji="0" lang="ru-RU" sz="6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/>
              </a:rPr>
              <a:t> 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colm G. Munro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normal uterine bleeding: A well‐travelled path to iron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ciency and anemia</a:t>
            </a:r>
            <a:r>
              <a:rPr kumimoji="0" lang="ru-RU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 J 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necol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6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tet</a:t>
            </a:r>
            <a:r>
              <a:rPr kumimoji="0" lang="en-US" sz="6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0; 150: 275–277</a:t>
            </a:r>
            <a:endParaRPr kumimoji="0" lang="ru-RU" sz="6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3DF4DE9-01AD-4A21-B32B-C243C0A56E47}"/>
              </a:ext>
            </a:extLst>
          </p:cNvPr>
          <p:cNvSpPr/>
          <p:nvPr/>
        </p:nvSpPr>
        <p:spPr>
          <a:xfrm>
            <a:off x="435775" y="5554656"/>
            <a:ext cx="7586627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675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К – обильное менструальное кровотечение, ЖДА – железодефицитная анемия; АМК – аномальное маточное кровотечение</a:t>
            </a:r>
          </a:p>
        </p:txBody>
      </p:sp>
      <p:sp>
        <p:nvSpPr>
          <p:cNvPr id="12" name="Полилиния 11">
            <a:extLst>
              <a:ext uri="{FF2B5EF4-FFF2-40B4-BE49-F238E27FC236}">
                <a16:creationId xmlns:a16="http://schemas.microsoft.com/office/drawing/2014/main" id="{E4B23C89-2BF5-4CDD-A164-FFACB0BC921C}"/>
              </a:ext>
            </a:extLst>
          </p:cNvPr>
          <p:cNvSpPr/>
          <p:nvPr/>
        </p:nvSpPr>
        <p:spPr bwMode="gray">
          <a:xfrm>
            <a:off x="841626" y="2636820"/>
            <a:ext cx="6865529" cy="2653172"/>
          </a:xfrm>
          <a:custGeom>
            <a:avLst/>
            <a:gdLst>
              <a:gd name="connsiteX0" fmla="*/ 8573528 w 8573972"/>
              <a:gd name="connsiteY0" fmla="*/ 17 h 4716749"/>
              <a:gd name="connsiteX1" fmla="*/ 6382590 w 8573972"/>
              <a:gd name="connsiteY1" fmla="*/ 579439 h 4716749"/>
              <a:gd name="connsiteX2" fmla="*/ 6599873 w 8573972"/>
              <a:gd name="connsiteY2" fmla="*/ 1131701 h 4716749"/>
              <a:gd name="connsiteX3" fmla="*/ 1919231 w 8573972"/>
              <a:gd name="connsiteY3" fmla="*/ 1946512 h 4716749"/>
              <a:gd name="connsiteX4" fmla="*/ 2516760 w 8573972"/>
              <a:gd name="connsiteY4" fmla="*/ 3675724 h 4716749"/>
              <a:gd name="connsiteX5" fmla="*/ 117592 w 8573972"/>
              <a:gd name="connsiteY5" fmla="*/ 4553910 h 4716749"/>
              <a:gd name="connsiteX6" fmla="*/ 6844316 w 8573972"/>
              <a:gd name="connsiteY6" fmla="*/ 4481483 h 4716749"/>
              <a:gd name="connsiteX7" fmla="*/ 4680538 w 8573972"/>
              <a:gd name="connsiteY7" fmla="*/ 2209063 h 4716749"/>
              <a:gd name="connsiteX8" fmla="*/ 7414685 w 8573972"/>
              <a:gd name="connsiteY8" fmla="*/ 1167914 h 4716749"/>
              <a:gd name="connsiteX9" fmla="*/ 6581766 w 8573972"/>
              <a:gd name="connsiteY9" fmla="*/ 597546 h 4716749"/>
              <a:gd name="connsiteX10" fmla="*/ 8573528 w 8573972"/>
              <a:gd name="connsiteY10" fmla="*/ 17 h 4716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573972" h="4716749">
                <a:moveTo>
                  <a:pt x="8573528" y="17"/>
                </a:moveTo>
                <a:cubicBezTo>
                  <a:pt x="8540332" y="-3001"/>
                  <a:pt x="6711532" y="390825"/>
                  <a:pt x="6382590" y="579439"/>
                </a:cubicBezTo>
                <a:cubicBezTo>
                  <a:pt x="6053648" y="768053"/>
                  <a:pt x="7343766" y="903856"/>
                  <a:pt x="6599873" y="1131701"/>
                </a:cubicBezTo>
                <a:cubicBezTo>
                  <a:pt x="5855980" y="1359546"/>
                  <a:pt x="2599750" y="1522508"/>
                  <a:pt x="1919231" y="1946512"/>
                </a:cubicBezTo>
                <a:cubicBezTo>
                  <a:pt x="1238712" y="2370516"/>
                  <a:pt x="2817033" y="3241158"/>
                  <a:pt x="2516760" y="3675724"/>
                </a:cubicBezTo>
                <a:cubicBezTo>
                  <a:pt x="2216487" y="4110290"/>
                  <a:pt x="-603667" y="4419617"/>
                  <a:pt x="117592" y="4553910"/>
                </a:cubicBezTo>
                <a:cubicBezTo>
                  <a:pt x="838851" y="4688203"/>
                  <a:pt x="6083825" y="4872291"/>
                  <a:pt x="6844316" y="4481483"/>
                </a:cubicBezTo>
                <a:cubicBezTo>
                  <a:pt x="7604807" y="4090675"/>
                  <a:pt x="4585477" y="2761324"/>
                  <a:pt x="4680538" y="2209063"/>
                </a:cubicBezTo>
                <a:cubicBezTo>
                  <a:pt x="4775599" y="1656802"/>
                  <a:pt x="7097814" y="1436500"/>
                  <a:pt x="7414685" y="1167914"/>
                </a:cubicBezTo>
                <a:cubicBezTo>
                  <a:pt x="7731556" y="899328"/>
                  <a:pt x="6393152" y="792195"/>
                  <a:pt x="6581766" y="597546"/>
                </a:cubicBezTo>
                <a:cubicBezTo>
                  <a:pt x="6770380" y="402897"/>
                  <a:pt x="8606724" y="3035"/>
                  <a:pt x="8573528" y="17"/>
                </a:cubicBezTo>
                <a:close/>
              </a:path>
            </a:pathLst>
          </a:custGeom>
          <a:solidFill>
            <a:srgbClr val="E1D1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013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A765F5F5-84D8-411C-820E-1B6DE6C62CF1}"/>
              </a:ext>
            </a:extLst>
          </p:cNvPr>
          <p:cNvGrpSpPr/>
          <p:nvPr/>
        </p:nvGrpSpPr>
        <p:grpSpPr>
          <a:xfrm>
            <a:off x="683568" y="2853391"/>
            <a:ext cx="5198617" cy="2333356"/>
            <a:chOff x="478150" y="2086481"/>
            <a:chExt cx="7613260" cy="3140491"/>
          </a:xfrm>
        </p:grpSpPr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93459FB4-D3A7-4B59-9C71-3981CBFE302B}"/>
                </a:ext>
              </a:extLst>
            </p:cNvPr>
            <p:cNvSpPr/>
            <p:nvPr/>
          </p:nvSpPr>
          <p:spPr>
            <a:xfrm>
              <a:off x="1018805" y="2249609"/>
              <a:ext cx="2738722" cy="982372"/>
            </a:xfrm>
            <a:custGeom>
              <a:avLst/>
              <a:gdLst>
                <a:gd name="connsiteX0" fmla="*/ 0 w 6744750"/>
                <a:gd name="connsiteY0" fmla="*/ 245593 h 982372"/>
                <a:gd name="connsiteX1" fmla="*/ 6253564 w 6744750"/>
                <a:gd name="connsiteY1" fmla="*/ 245593 h 982372"/>
                <a:gd name="connsiteX2" fmla="*/ 6253564 w 6744750"/>
                <a:gd name="connsiteY2" fmla="*/ 0 h 982372"/>
                <a:gd name="connsiteX3" fmla="*/ 6744750 w 6744750"/>
                <a:gd name="connsiteY3" fmla="*/ 491186 h 982372"/>
                <a:gd name="connsiteX4" fmla="*/ 6253564 w 6744750"/>
                <a:gd name="connsiteY4" fmla="*/ 982372 h 982372"/>
                <a:gd name="connsiteX5" fmla="*/ 6253564 w 6744750"/>
                <a:gd name="connsiteY5" fmla="*/ 736779 h 982372"/>
                <a:gd name="connsiteX6" fmla="*/ 0 w 6744750"/>
                <a:gd name="connsiteY6" fmla="*/ 736779 h 982372"/>
                <a:gd name="connsiteX7" fmla="*/ 0 w 6744750"/>
                <a:gd name="connsiteY7" fmla="*/ 245593 h 982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44750" h="982372">
                  <a:moveTo>
                    <a:pt x="0" y="245593"/>
                  </a:moveTo>
                  <a:lnTo>
                    <a:pt x="6253564" y="245593"/>
                  </a:lnTo>
                  <a:lnTo>
                    <a:pt x="6253564" y="0"/>
                  </a:lnTo>
                  <a:lnTo>
                    <a:pt x="6744750" y="491186"/>
                  </a:lnTo>
                  <a:lnTo>
                    <a:pt x="6253564" y="982372"/>
                  </a:lnTo>
                  <a:lnTo>
                    <a:pt x="6253564" y="736779"/>
                  </a:lnTo>
                  <a:lnTo>
                    <a:pt x="0" y="736779"/>
                  </a:lnTo>
                  <a:lnTo>
                    <a:pt x="0" y="245593"/>
                  </a:lnTo>
                  <a:close/>
                </a:path>
              </a:pathLst>
            </a:custGeom>
            <a:solidFill>
              <a:srgbClr val="FF9999"/>
            </a:soli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38576" tIns="176723" rIns="281021" bIns="225869" numCol="1" spcCol="1270" anchor="ctr" anchorCtr="0">
              <a:noAutofit/>
            </a:bodyPr>
            <a:lstStyle/>
            <a:p>
              <a:pPr algn="ctr" defTabSz="450071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kumimoji="0" lang="ru-RU" sz="16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/>
                </a:rPr>
                <a:t>ОМК </a:t>
              </a:r>
              <a:r>
                <a:rPr kumimoji="0" lang="ru-RU" sz="1600" b="1" baseline="300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/>
                </a:rPr>
                <a:t>3</a:t>
              </a: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413DED30-934C-447A-BFC6-D63703A86B56}"/>
                </a:ext>
              </a:extLst>
            </p:cNvPr>
            <p:cNvSpPr/>
            <p:nvPr/>
          </p:nvSpPr>
          <p:spPr>
            <a:xfrm>
              <a:off x="478150" y="2986717"/>
              <a:ext cx="3259077" cy="1824626"/>
            </a:xfrm>
            <a:custGeom>
              <a:avLst/>
              <a:gdLst>
                <a:gd name="connsiteX0" fmla="*/ 0 w 3116074"/>
                <a:gd name="connsiteY0" fmla="*/ 0 h 1750022"/>
                <a:gd name="connsiteX1" fmla="*/ 3116074 w 3116074"/>
                <a:gd name="connsiteY1" fmla="*/ 0 h 1750022"/>
                <a:gd name="connsiteX2" fmla="*/ 3116074 w 3116074"/>
                <a:gd name="connsiteY2" fmla="*/ 1750022 h 1750022"/>
                <a:gd name="connsiteX3" fmla="*/ 0 w 3116074"/>
                <a:gd name="connsiteY3" fmla="*/ 1750022 h 1750022"/>
                <a:gd name="connsiteX4" fmla="*/ 0 w 3116074"/>
                <a:gd name="connsiteY4" fmla="*/ 0 h 175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6074" h="1750022">
                  <a:moveTo>
                    <a:pt x="0" y="0"/>
                  </a:moveTo>
                  <a:lnTo>
                    <a:pt x="3116074" y="0"/>
                  </a:lnTo>
                  <a:lnTo>
                    <a:pt x="3116074" y="1750022"/>
                  </a:lnTo>
                  <a:lnTo>
                    <a:pt x="0" y="17500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004" tIns="30004" rIns="30004" bIns="30004" numCol="1" spcCol="1270" anchor="t" anchorCtr="0">
              <a:noAutofit/>
            </a:bodyPr>
            <a:lstStyle/>
            <a:p>
              <a:pPr algn="ctr" defTabSz="350056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гативное влияние на… </a:t>
              </a:r>
            </a:p>
            <a:p>
              <a:pPr marL="267891" indent="-133350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изическое состояние</a:t>
              </a:r>
            </a:p>
            <a:p>
              <a:pPr marL="267891" indent="-133350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циальную активность </a:t>
              </a:r>
            </a:p>
            <a:p>
              <a:pPr marL="267891" indent="-133350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ономическое благосостояние</a:t>
              </a:r>
            </a:p>
            <a:p>
              <a:pPr marL="267891" indent="-133350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териальные траты</a:t>
              </a: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2E25BC5B-C6B9-4B2B-9A52-967C2C0CBB02}"/>
                </a:ext>
              </a:extLst>
            </p:cNvPr>
            <p:cNvSpPr/>
            <p:nvPr/>
          </p:nvSpPr>
          <p:spPr>
            <a:xfrm>
              <a:off x="4041027" y="2086481"/>
              <a:ext cx="4050383" cy="3140491"/>
            </a:xfrm>
            <a:custGeom>
              <a:avLst/>
              <a:gdLst>
                <a:gd name="connsiteX0" fmla="*/ 0 w 3118255"/>
                <a:gd name="connsiteY0" fmla="*/ 0 h 2228120"/>
                <a:gd name="connsiteX1" fmla="*/ 3118255 w 3118255"/>
                <a:gd name="connsiteY1" fmla="*/ 0 h 2228120"/>
                <a:gd name="connsiteX2" fmla="*/ 3118255 w 3118255"/>
                <a:gd name="connsiteY2" fmla="*/ 2228120 h 2228120"/>
                <a:gd name="connsiteX3" fmla="*/ 0 w 3118255"/>
                <a:gd name="connsiteY3" fmla="*/ 2228120 h 2228120"/>
                <a:gd name="connsiteX4" fmla="*/ 0 w 3118255"/>
                <a:gd name="connsiteY4" fmla="*/ 0 h 2228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8255" h="2228120">
                  <a:moveTo>
                    <a:pt x="0" y="0"/>
                  </a:moveTo>
                  <a:lnTo>
                    <a:pt x="3118255" y="0"/>
                  </a:lnTo>
                  <a:lnTo>
                    <a:pt x="3118255" y="2228120"/>
                  </a:lnTo>
                  <a:lnTo>
                    <a:pt x="0" y="22281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004" tIns="30004" rIns="30004" bIns="30004" numCol="1" spcCol="1270" anchor="t" anchorCtr="0">
              <a:noAutofit/>
            </a:bodyPr>
            <a:lstStyle/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endParaRPr kumimoji="0" lang="ru-RU" sz="12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оянная усталость</a:t>
              </a:r>
            </a:p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нижение способности переносить физическую нагрузку</a:t>
              </a:r>
            </a:p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рушение когнитивных функций</a:t>
              </a:r>
              <a:endParaRPr kumimoji="0" lang="en-US" sz="12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  <a:r>
                <a:rPr kumimoji="0" lang="ru-RU" sz="1200" b="1" dirty="0" err="1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ижение</a:t>
              </a: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ммунитета</a:t>
              </a:r>
            </a:p>
            <a:p>
              <a:pPr marL="171450" indent="-108347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ru-RU" sz="1200" b="1" dirty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ложнения во время беременности, родов/ нарушение неврологического развития ребенка в дальнейшем</a:t>
              </a:r>
            </a:p>
            <a:p>
              <a:pPr marL="171450" indent="-171450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+mj-lt"/>
                <a:buAutoNum type="arabicPeriod"/>
                <a:defRPr/>
              </a:pPr>
              <a:endParaRPr kumimoji="0" lang="ru-RU" sz="12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57175" indent="-257175" defTabSz="350056" eaLnBrk="1" fontAlgn="auto" hangingPunct="1">
                <a:lnSpc>
                  <a:spcPct val="90000"/>
                </a:lnSpc>
                <a:spcAft>
                  <a:spcPct val="35000"/>
                </a:spcAft>
                <a:buFont typeface="+mj-lt"/>
                <a:buAutoNum type="arabicPeriod"/>
                <a:defRPr/>
              </a:pPr>
              <a:endParaRPr kumimoji="0" lang="ru-RU" sz="12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 panose="020B0604020202020204"/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DA69DF9-1F56-40D6-93A8-96C7EDB08D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6356113" y="2727167"/>
            <a:ext cx="1349095" cy="820192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AA447B-86C0-454D-9F6C-7ACC868F2551}"/>
              </a:ext>
            </a:extLst>
          </p:cNvPr>
          <p:cNvSpPr/>
          <p:nvPr/>
        </p:nvSpPr>
        <p:spPr>
          <a:xfrm>
            <a:off x="6174732" y="3842116"/>
            <a:ext cx="242971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1200" b="1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астая головная боль и головокружение, повышенная тревожность, перепады настроения, депрессия, синдром беспокойных ног в течение сна, ломкость ногтей, сухость и выпадение волос</a:t>
            </a:r>
            <a:endParaRPr kumimoji="0"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85D35DEF-0A38-46E6-AD36-2DDE7D3EABE1}"/>
              </a:ext>
            </a:extLst>
          </p:cNvPr>
          <p:cNvSpPr/>
          <p:nvPr/>
        </p:nvSpPr>
        <p:spPr>
          <a:xfrm>
            <a:off x="3597370" y="2609896"/>
            <a:ext cx="2477010" cy="648809"/>
          </a:xfrm>
          <a:custGeom>
            <a:avLst/>
            <a:gdLst>
              <a:gd name="connsiteX0" fmla="*/ 0 w 6744750"/>
              <a:gd name="connsiteY0" fmla="*/ 245593 h 982372"/>
              <a:gd name="connsiteX1" fmla="*/ 6253564 w 6744750"/>
              <a:gd name="connsiteY1" fmla="*/ 245593 h 982372"/>
              <a:gd name="connsiteX2" fmla="*/ 6253564 w 6744750"/>
              <a:gd name="connsiteY2" fmla="*/ 0 h 982372"/>
              <a:gd name="connsiteX3" fmla="*/ 6744750 w 6744750"/>
              <a:gd name="connsiteY3" fmla="*/ 491186 h 982372"/>
              <a:gd name="connsiteX4" fmla="*/ 6253564 w 6744750"/>
              <a:gd name="connsiteY4" fmla="*/ 982372 h 982372"/>
              <a:gd name="connsiteX5" fmla="*/ 6253564 w 6744750"/>
              <a:gd name="connsiteY5" fmla="*/ 736779 h 982372"/>
              <a:gd name="connsiteX6" fmla="*/ 0 w 6744750"/>
              <a:gd name="connsiteY6" fmla="*/ 736779 h 982372"/>
              <a:gd name="connsiteX7" fmla="*/ 0 w 6744750"/>
              <a:gd name="connsiteY7" fmla="*/ 245593 h 982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4750" h="982372">
                <a:moveTo>
                  <a:pt x="0" y="245593"/>
                </a:moveTo>
                <a:lnTo>
                  <a:pt x="6253564" y="245593"/>
                </a:lnTo>
                <a:lnTo>
                  <a:pt x="6253564" y="0"/>
                </a:lnTo>
                <a:lnTo>
                  <a:pt x="6744750" y="491186"/>
                </a:lnTo>
                <a:lnTo>
                  <a:pt x="6253564" y="982372"/>
                </a:lnTo>
                <a:lnTo>
                  <a:pt x="6253564" y="736779"/>
                </a:lnTo>
                <a:lnTo>
                  <a:pt x="0" y="736779"/>
                </a:lnTo>
                <a:lnTo>
                  <a:pt x="0" y="245593"/>
                </a:lnTo>
                <a:close/>
              </a:path>
            </a:pathLst>
          </a:custGeom>
          <a:solidFill>
            <a:srgbClr val="FF9999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38576" tIns="176723" rIns="281021" bIns="225869" numCol="1" spcCol="1270" anchor="ctr" anchorCtr="0">
            <a:noAutofit/>
          </a:bodyPr>
          <a:lstStyle/>
          <a:p>
            <a:pPr algn="ctr" defTabSz="450071" eaLnBrk="1" fontAlgn="auto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kumimoji="0" lang="ru-RU" sz="16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ЖДА </a:t>
            </a:r>
            <a:r>
              <a:rPr kumimoji="0" lang="ru-RU" sz="1600" b="1" baseline="300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</a:rPr>
              <a:t>3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B9D45E2-57C4-4611-8632-4DA24E923169}"/>
              </a:ext>
            </a:extLst>
          </p:cNvPr>
          <p:cNvSpPr/>
          <p:nvPr/>
        </p:nvSpPr>
        <p:spPr>
          <a:xfrm>
            <a:off x="5960463" y="3671718"/>
            <a:ext cx="27657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12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знаки, указывающие на ЖДА:</a:t>
            </a:r>
          </a:p>
        </p:txBody>
      </p:sp>
    </p:spTree>
    <p:extLst>
      <p:ext uri="{BB962C8B-B14F-4D97-AF65-F5344CB8AC3E}">
        <p14:creationId xmlns:p14="http://schemas.microsoft.com/office/powerpoint/2010/main" val="259298622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504497" y="1575685"/>
            <a:ext cx="8203553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6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sz="1500" b="1" dirty="0">
                <a:solidFill>
                  <a:srgbClr val="FFFFFF"/>
                </a:solidFill>
                <a:highlight>
                  <a:srgbClr val="800000"/>
                </a:highlight>
                <a:latin typeface="Arial"/>
                <a:cs typeface="Arial"/>
              </a:rPr>
              <a:t>На фоне анемии практически неизбежно формирование плацентарной недостаточности</a:t>
            </a:r>
            <a:r>
              <a:rPr kumimoji="0" lang="ru-RU" sz="1500" b="1" dirty="0">
                <a:solidFill>
                  <a:srgbClr val="FFFFFF"/>
                </a:solidFill>
                <a:latin typeface="Arial"/>
                <a:cs typeface="Arial"/>
              </a:rPr>
              <a:t>, влекущей за собой высокий риск заболеваемости                                и угрозы для жизни женщины и ребёнка </a:t>
            </a:r>
            <a:r>
              <a:rPr kumimoji="0" lang="en-US" sz="1500" b="1" baseline="3000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kumimoji="0" lang="ru-RU" sz="15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9950" y="3414190"/>
            <a:ext cx="731520" cy="73152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362" y="3331055"/>
            <a:ext cx="774696" cy="774696"/>
          </a:xfrm>
          <a:prstGeom prst="rect">
            <a:avLst/>
          </a:prstGeom>
        </p:spPr>
      </p:pic>
      <p:sp>
        <p:nvSpPr>
          <p:cNvPr id="14" name="Text Placeholder 9"/>
          <p:cNvSpPr txBox="1">
            <a:spLocks/>
          </p:cNvSpPr>
          <p:nvPr/>
        </p:nvSpPr>
        <p:spPr bwMode="gray">
          <a:xfrm>
            <a:off x="504497" y="4185161"/>
            <a:ext cx="3129455" cy="1040852"/>
          </a:xfrm>
          <a:prstGeom prst="rect">
            <a:avLst/>
          </a:prstGeom>
          <a:noFill/>
        </p:spPr>
        <p:txBody>
          <a:bodyPr lIns="81000" tIns="54000" rIns="81000" bIns="540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Преждевременные роды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Преэклампсия</a:t>
            </a:r>
            <a:endParaRPr kumimoji="0" lang="ru-RU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Гипотоническое кровотечение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Гнойно-септические осложнения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Повышение риска </a:t>
            </a:r>
            <a:r>
              <a:rPr kumimoji="0" lang="ru-RU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меатеринской</a:t>
            </a: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 смертности</a:t>
            </a:r>
            <a:endParaRPr kumimoji="0" lang="en-US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15" name="Text Placeholder 9"/>
          <p:cNvSpPr txBox="1">
            <a:spLocks/>
          </p:cNvSpPr>
          <p:nvPr/>
        </p:nvSpPr>
        <p:spPr bwMode="gray">
          <a:xfrm>
            <a:off x="3344636" y="4191226"/>
            <a:ext cx="2478387" cy="982181"/>
          </a:xfrm>
          <a:prstGeom prst="rect">
            <a:avLst/>
          </a:prstGeom>
          <a:noFill/>
        </p:spPr>
        <p:txBody>
          <a:bodyPr lIns="81000" tIns="54000" rIns="81000" bIns="540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Задержка роста плода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Низкий вес при рождении 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Недоношенность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endParaRPr kumimoji="0" lang="ru-RU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16" name="Text Placeholder 9"/>
          <p:cNvSpPr txBox="1">
            <a:spLocks/>
          </p:cNvSpPr>
          <p:nvPr/>
        </p:nvSpPr>
        <p:spPr bwMode="gray">
          <a:xfrm>
            <a:off x="5899639" y="4164849"/>
            <a:ext cx="2917556" cy="1040852"/>
          </a:xfrm>
          <a:prstGeom prst="rect">
            <a:avLst/>
          </a:prstGeom>
          <a:noFill/>
        </p:spPr>
        <p:txBody>
          <a:bodyPr lIns="81000" tIns="54000" rIns="81000" bIns="540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6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7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8"/>
              </a:buBlip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Метаболический синдром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Замедление интеллектуального развития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Пожизненное снижение познавательных способностей</a:t>
            </a:r>
          </a:p>
          <a:p>
            <a:pPr marL="135000" lvl="1" indent="-135000" defTabSz="685800" fontAlgn="auto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kumimoji="0" lang="ru-RU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Анемия </a:t>
            </a:r>
          </a:p>
        </p:txBody>
      </p:sp>
      <p:grpSp>
        <p:nvGrpSpPr>
          <p:cNvPr id="7" name="Группа 6"/>
          <p:cNvGrpSpPr/>
          <p:nvPr/>
        </p:nvGrpSpPr>
        <p:grpSpPr>
          <a:xfrm rot="5400000">
            <a:off x="4404046" y="250180"/>
            <a:ext cx="338144" cy="5796768"/>
            <a:chOff x="7344333" y="2756073"/>
            <a:chExt cx="964022" cy="699968"/>
          </a:xfrm>
        </p:grpSpPr>
        <p:sp>
          <p:nvSpPr>
            <p:cNvPr id="18" name="Line 25"/>
            <p:cNvSpPr>
              <a:spLocks noChangeShapeType="1"/>
            </p:cNvSpPr>
            <p:nvPr/>
          </p:nvSpPr>
          <p:spPr bwMode="gray">
            <a:xfrm flipV="1">
              <a:off x="7344333" y="3108305"/>
              <a:ext cx="442835" cy="0"/>
            </a:xfrm>
            <a:prstGeom prst="line">
              <a:avLst/>
            </a:prstGeom>
            <a:noFill/>
            <a:ln w="22225" cmpd="sng">
              <a:solidFill>
                <a:srgbClr val="FFFF00"/>
              </a:solidFill>
              <a:prstDash val="solid"/>
              <a:round/>
              <a:headEnd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66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kumimoji="0" lang="en-US" sz="1425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9" name="Line 25"/>
            <p:cNvSpPr>
              <a:spLocks noChangeShapeType="1"/>
            </p:cNvSpPr>
            <p:nvPr/>
          </p:nvSpPr>
          <p:spPr bwMode="gray">
            <a:xfrm>
              <a:off x="7787167" y="3108305"/>
              <a:ext cx="521188" cy="0"/>
            </a:xfrm>
            <a:prstGeom prst="line">
              <a:avLst/>
            </a:prstGeom>
            <a:noFill/>
            <a:ln w="22225" cmpd="sng">
              <a:solidFill>
                <a:srgbClr val="FFFF00"/>
              </a:solidFill>
              <a:prstDash val="solid"/>
              <a:round/>
              <a:headEnd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66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kumimoji="0" lang="en-US" sz="1425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" name="Line 25"/>
            <p:cNvSpPr>
              <a:spLocks noChangeShapeType="1"/>
            </p:cNvSpPr>
            <p:nvPr/>
          </p:nvSpPr>
          <p:spPr bwMode="gray">
            <a:xfrm>
              <a:off x="7787167" y="3456041"/>
              <a:ext cx="521188" cy="0"/>
            </a:xfrm>
            <a:prstGeom prst="line">
              <a:avLst/>
            </a:prstGeom>
            <a:noFill/>
            <a:ln w="22225" cmpd="sng">
              <a:solidFill>
                <a:srgbClr val="FFFF00"/>
              </a:solidFill>
              <a:prstDash val="solid"/>
              <a:round/>
              <a:headEnd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66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kumimoji="0" lang="en-US" sz="1425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1" name="Line 25"/>
            <p:cNvSpPr>
              <a:spLocks noChangeShapeType="1"/>
            </p:cNvSpPr>
            <p:nvPr/>
          </p:nvSpPr>
          <p:spPr bwMode="gray">
            <a:xfrm>
              <a:off x="7787167" y="2756073"/>
              <a:ext cx="521188" cy="0"/>
            </a:xfrm>
            <a:prstGeom prst="line">
              <a:avLst/>
            </a:prstGeom>
            <a:noFill/>
            <a:ln w="22225" cmpd="sng">
              <a:solidFill>
                <a:srgbClr val="FFFF00"/>
              </a:solidFill>
              <a:prstDash val="solid"/>
              <a:round/>
              <a:headEnd/>
              <a:tailEnd type="oval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66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kumimoji="0" lang="en-US" sz="1425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6" name="Прямая соединительная линия 5"/>
            <p:cNvCxnSpPr>
              <a:stCxn id="21" idx="0"/>
              <a:endCxn id="20" idx="0"/>
            </p:cNvCxnSpPr>
            <p:nvPr/>
          </p:nvCxnSpPr>
          <p:spPr bwMode="gray">
            <a:xfrm>
              <a:off x="7787167" y="2756073"/>
              <a:ext cx="0" cy="699968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 Placeholder 7"/>
          <p:cNvSpPr txBox="1">
            <a:spLocks/>
          </p:cNvSpPr>
          <p:nvPr/>
        </p:nvSpPr>
        <p:spPr bwMode="gray">
          <a:xfrm>
            <a:off x="2855669" y="2632088"/>
            <a:ext cx="3380079" cy="299423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solidFill>
              <a:schemeClr val="accent1">
                <a:lumMod val="25000"/>
                <a:lumOff val="75000"/>
              </a:schemeClr>
            </a:solidFill>
          </a:ln>
        </p:spPr>
        <p:txBody>
          <a:bodyPr vert="horz" lIns="81000" tIns="54000" rIns="81000" bIns="5400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30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900"/>
              </a:spcBef>
            </a:pPr>
            <a:r>
              <a:rPr kumimoji="0" lang="ru-RU" sz="1350" b="1" dirty="0">
                <a:solidFill>
                  <a:srgbClr val="FFFFFF"/>
                </a:solidFill>
                <a:latin typeface="Arial"/>
                <a:cs typeface="Arial"/>
              </a:rPr>
              <a:t>Последствия ЖДА и ПН </a:t>
            </a:r>
            <a:r>
              <a:rPr kumimoji="0" lang="en-US" sz="1350" b="1" baseline="3000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kumimoji="0" lang="ru-RU" sz="1350" b="1" baseline="30000" dirty="0">
                <a:solidFill>
                  <a:srgbClr val="FFFFFF"/>
                </a:solidFill>
                <a:latin typeface="Arial"/>
                <a:cs typeface="Arial"/>
              </a:rPr>
              <a:t>-4</a:t>
            </a:r>
            <a:endParaRPr kumimoji="0" lang="en-US" sz="135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 bwMode="gray">
          <a:xfrm>
            <a:off x="1229884" y="6053832"/>
            <a:ext cx="7587311" cy="4507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57175" indent="-257175" algn="r" defTabSz="685664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ru-RU" sz="800" i="1" dirty="0" err="1">
                <a:solidFill>
                  <a:srgbClr val="FFFFFF"/>
                </a:solidFill>
                <a:latin typeface="Arial"/>
                <a:cs typeface="Arial"/>
              </a:rPr>
              <a:t>Ших</a:t>
            </a: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 Е.В., Бриль Ю.А. </a:t>
            </a:r>
            <a:r>
              <a:rPr kumimoji="0" lang="ru-RU" sz="800" i="1" dirty="0" err="1">
                <a:solidFill>
                  <a:srgbClr val="FFFFFF"/>
                </a:solidFill>
                <a:latin typeface="Arial"/>
                <a:cs typeface="Arial"/>
              </a:rPr>
              <a:t>Железодефицит</a:t>
            </a: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: катастрофа для </a:t>
            </a:r>
            <a:r>
              <a:rPr kumimoji="0" lang="ru-RU" sz="800" i="1" dirty="0" err="1">
                <a:solidFill>
                  <a:srgbClr val="FFFFFF"/>
                </a:solidFill>
                <a:latin typeface="Arial"/>
                <a:cs typeface="Arial"/>
              </a:rPr>
              <a:t>нейрогенеза</a:t>
            </a: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 / / </a:t>
            </a:r>
            <a:r>
              <a:rPr kumimoji="0" lang="en-US" sz="800" i="1" dirty="0" err="1">
                <a:solidFill>
                  <a:srgbClr val="FFFFFF"/>
                </a:solidFill>
                <a:latin typeface="Arial"/>
                <a:cs typeface="Arial"/>
              </a:rPr>
              <a:t>StatusPraesens</a:t>
            </a: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. 2018. №5</a:t>
            </a:r>
            <a:r>
              <a:rPr kumimoji="0" lang="en-US" sz="800" i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endParaRPr kumimoji="0" lang="ru-RU" sz="800" i="1" dirty="0">
              <a:solidFill>
                <a:srgbClr val="FFFFFF"/>
              </a:solidFill>
              <a:latin typeface="Arial"/>
              <a:cs typeface="Arial"/>
            </a:endParaRPr>
          </a:p>
          <a:p>
            <a:pPr marL="257175" indent="-257175" algn="r" defTabSz="685664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Н.Н. Луценко Поливитамины и минералы как неотъемлемая часть в рациональном питании женщины до, во время и после беременности. </a:t>
            </a:r>
          </a:p>
          <a:p>
            <a:pPr marL="257175" indent="-257175" algn="r" defTabSz="685664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ru-RU" sz="800" i="1" dirty="0">
                <a:solidFill>
                  <a:srgbClr val="FFFFFF"/>
                </a:solidFill>
                <a:latin typeface="Arial"/>
                <a:cs typeface="Arial"/>
              </a:rPr>
              <a:t>РМЖ, Мать и дитя, 2004, том 12, № 13, 3-7</a:t>
            </a:r>
          </a:p>
          <a:p>
            <a:pPr marL="257175" indent="-257175" algn="r" defTabSz="685664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kumimoji="0" lang="en-US" sz="800" i="1" dirty="0">
                <a:solidFill>
                  <a:srgbClr val="FFFFFF"/>
                </a:solidFill>
                <a:latin typeface="Arial"/>
                <a:cs typeface="Arial"/>
              </a:rPr>
              <a:t>Prado E.L., Dewey K.G. Nutrition and brain development in early life. </a:t>
            </a:r>
            <a:r>
              <a:rPr kumimoji="0" lang="en-US" sz="800" i="1" dirty="0" err="1">
                <a:solidFill>
                  <a:srgbClr val="FFFFFF"/>
                </a:solidFill>
                <a:latin typeface="Arial"/>
                <a:cs typeface="Arial"/>
              </a:rPr>
              <a:t>Nutr</a:t>
            </a:r>
            <a:r>
              <a:rPr kumimoji="0" lang="en-US" sz="800" i="1" dirty="0">
                <a:solidFill>
                  <a:srgbClr val="FFFFFF"/>
                </a:solidFill>
                <a:latin typeface="Arial"/>
                <a:cs typeface="Arial"/>
              </a:rPr>
              <a:t> Rev. 2014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4119" y="3262164"/>
            <a:ext cx="452699" cy="90099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 bwMode="gray">
          <a:xfrm>
            <a:off x="433333" y="5778400"/>
            <a:ext cx="7955982" cy="14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8566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sz="900" dirty="0">
                <a:solidFill>
                  <a:srgbClr val="FFFFFF"/>
                </a:solidFill>
                <a:latin typeface="Arial"/>
                <a:cs typeface="Arial"/>
              </a:rPr>
              <a:t>ЖДА – железодефицитная анемия</a:t>
            </a:r>
          </a:p>
          <a:p>
            <a:pPr defTabSz="68566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sz="900" dirty="0">
                <a:solidFill>
                  <a:srgbClr val="FFFFFF"/>
                </a:solidFill>
                <a:latin typeface="Arial"/>
                <a:cs typeface="Arial"/>
              </a:rPr>
              <a:t>ПН – плацентарная недостаточность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1520" y="418777"/>
            <a:ext cx="8523415" cy="648000"/>
          </a:xfrm>
        </p:spPr>
        <p:txBody>
          <a:bodyPr anchor="t"/>
          <a:lstStyle/>
          <a:p>
            <a:pPr algn="ctr"/>
            <a:r>
              <a:rPr lang="ru-RU" sz="2700" b="1" dirty="0">
                <a:solidFill>
                  <a:srgbClr val="FFFF00"/>
                </a:solidFill>
              </a:rPr>
              <a:t>Женщинам, страдающим анемией, нежелательно и даже опасно вступать в беременность! 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35E2DD67-C491-B80B-FFB1-715A4A8A93D9}"/>
              </a:ext>
            </a:extLst>
          </p:cNvPr>
          <p:cNvSpPr/>
          <p:nvPr/>
        </p:nvSpPr>
        <p:spPr>
          <a:xfrm>
            <a:off x="2845145" y="2607223"/>
            <a:ext cx="3390118" cy="354723"/>
          </a:xfrm>
          <a:prstGeom prst="round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200">
              <a:solidFill>
                <a:srgbClr val="F8F8F8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37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630621" y="341661"/>
            <a:ext cx="8079827" cy="653654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algn="ctr" defTabSz="685800" fontAlgn="auto">
              <a:spcBef>
                <a:spcPts val="1350"/>
              </a:spcBef>
              <a:spcAft>
                <a:spcPts val="0"/>
              </a:spcAft>
              <a:defRPr/>
            </a:pPr>
            <a:r>
              <a:rPr kumimoji="0" lang="ru-RU" sz="27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rPr>
              <a:t>Счастье материнства, обильные менструации и контрацепция: что общего? </a:t>
            </a:r>
          </a:p>
        </p:txBody>
      </p:sp>
      <p:graphicFrame>
        <p:nvGraphicFramePr>
          <p:cNvPr id="89095" name="Object 7"/>
          <p:cNvGraphicFramePr>
            <a:graphicFrameLocks noChangeAspect="1"/>
          </p:cNvGraphicFramePr>
          <p:nvPr/>
        </p:nvGraphicFramePr>
        <p:xfrm>
          <a:off x="357763" y="1783886"/>
          <a:ext cx="1659731" cy="11656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lip" r:id="rId3" imgW="4808538" imgH="2787650" progId="">
                  <p:embed/>
                </p:oleObj>
              </mc:Choice>
              <mc:Fallback>
                <p:oleObj name="Clip" r:id="rId3" imgW="4808538" imgH="2787650" progId="">
                  <p:embed/>
                  <p:pic>
                    <p:nvPicPr>
                      <p:cNvPr id="89095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7763" y="1783886"/>
                        <a:ext cx="1659731" cy="116562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827584" y="5427297"/>
            <a:ext cx="7766574" cy="92333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rgbClr val="FFFF00"/>
            </a:solidFill>
          </a:ln>
        </p:spPr>
        <p:txBody>
          <a:bodyPr wrap="square">
            <a:spAutoFit/>
          </a:bodyPr>
          <a:lstStyle/>
          <a:p>
            <a:pPr marL="130969" algn="ctr" defTabSz="685800" eaLnBrk="1" fontAlgn="auto" hangingPunct="1">
              <a:spcBef>
                <a:spcPts val="225"/>
              </a:spcBef>
              <a:spcAft>
                <a:spcPts val="0"/>
              </a:spcAft>
              <a:tabLst>
                <a:tab pos="5649516" algn="l"/>
              </a:tabLst>
              <a:defRPr/>
            </a:pPr>
            <a:r>
              <a:rPr kumimoji="0" lang="ru-RU" sz="18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 panose="020B0604020202020204" pitchFamily="34" charset="0"/>
              </a:rPr>
              <a:t>Профилактика хронической кровопотери и анемии                                 на этапе планирования беременности и в </a:t>
            </a:r>
            <a:r>
              <a:rPr kumimoji="0" lang="ru-RU" sz="1800" b="1" kern="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 panose="020B0604020202020204" pitchFamily="34" charset="0"/>
              </a:rPr>
              <a:t>интергенетическом</a:t>
            </a:r>
            <a:r>
              <a:rPr kumimoji="0" lang="ru-RU" sz="18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 panose="020B0604020202020204" pitchFamily="34" charset="0"/>
              </a:rPr>
              <a:t> интервале (между беременностями) </a:t>
            </a:r>
          </a:p>
        </p:txBody>
      </p:sp>
      <p:sp>
        <p:nvSpPr>
          <p:cNvPr id="3" name="Стрелка вниз 2"/>
          <p:cNvSpPr/>
          <p:nvPr/>
        </p:nvSpPr>
        <p:spPr>
          <a:xfrm>
            <a:off x="2411760" y="3198748"/>
            <a:ext cx="3910117" cy="1977360"/>
          </a:xfrm>
          <a:prstGeom prst="downArrow">
            <a:avLst>
              <a:gd name="adj1" fmla="val 50000"/>
              <a:gd name="adj2" fmla="val 46687"/>
            </a:avLst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endParaRPr kumimoji="0" lang="ru-RU" sz="1300" b="1" kern="0" dirty="0">
              <a:solidFill>
                <a:srgbClr val="FFFFFF"/>
              </a:solidFill>
              <a:latin typeface="Arial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endParaRPr kumimoji="0" lang="ru-RU" sz="1300" b="1" kern="0" dirty="0">
              <a:solidFill>
                <a:srgbClr val="003300"/>
              </a:solidFill>
              <a:latin typeface="Arial"/>
            </a:endParaRP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r>
              <a:rPr kumimoji="0" lang="ru-RU" sz="1300" b="1" kern="0" dirty="0">
                <a:solidFill>
                  <a:srgbClr val="FFFFFF"/>
                </a:solidFill>
                <a:highlight>
                  <a:srgbClr val="800000"/>
                </a:highlight>
                <a:latin typeface="Arial"/>
              </a:rPr>
              <a:t>Гормональная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r>
              <a:rPr kumimoji="0" lang="ru-RU" sz="1300" b="1" kern="0" dirty="0">
                <a:solidFill>
                  <a:srgbClr val="FFFFFF"/>
                </a:solidFill>
                <a:highlight>
                  <a:srgbClr val="800000"/>
                </a:highlight>
                <a:latin typeface="Arial"/>
              </a:rPr>
              <a:t>контрацепция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r>
              <a:rPr kumimoji="0" lang="ru-RU" sz="1300" b="1" kern="0" dirty="0">
                <a:solidFill>
                  <a:srgbClr val="FFFFFF"/>
                </a:solidFill>
                <a:highlight>
                  <a:srgbClr val="800000"/>
                </a:highlight>
                <a:latin typeface="Arial"/>
              </a:rPr>
              <a:t>(таблетки, кольцо, пластырь, внутриматочные системы</a:t>
            </a:r>
            <a:r>
              <a:rPr kumimoji="0" lang="ru-RU" sz="1300" b="1" kern="0" dirty="0">
                <a:solidFill>
                  <a:srgbClr val="FFFFFF"/>
                </a:solidFill>
                <a:latin typeface="Arial"/>
              </a:rPr>
              <a:t>                             </a:t>
            </a:r>
            <a:r>
              <a:rPr kumimoji="0" lang="ru-RU" sz="1300" b="1" kern="0" dirty="0">
                <a:solidFill>
                  <a:srgbClr val="FFFFFF"/>
                </a:solidFill>
                <a:highlight>
                  <a:srgbClr val="800000"/>
                </a:highlight>
                <a:latin typeface="Arial"/>
              </a:rPr>
              <a:t>        с гормонами)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tabLst>
                <a:tab pos="5649516" algn="l"/>
              </a:tabLst>
              <a:defRPr/>
            </a:pPr>
            <a:endParaRPr kumimoji="0" lang="ru-RU" sz="13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531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1693470" y="1681892"/>
            <a:ext cx="6599193" cy="1516856"/>
          </a:xfrm>
        </p:spPr>
        <p:txBody>
          <a:bodyPr/>
          <a:lstStyle/>
          <a:p>
            <a:pPr marL="130969" indent="0" algn="ctr" eaLnBrk="1" hangingPunct="1">
              <a:spcBef>
                <a:spcPts val="450"/>
              </a:spcBef>
              <a:buNone/>
              <a:tabLst>
                <a:tab pos="5649516" algn="l"/>
              </a:tabLst>
              <a:defRPr/>
            </a:pP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Эффективное направление оказания лечебно-</a:t>
            </a:r>
          </a:p>
          <a:p>
            <a:pPr marL="130969" indent="0" algn="ctr" eaLnBrk="1" hangingPunct="1">
              <a:spcBef>
                <a:spcPts val="0"/>
              </a:spcBef>
              <a:buNone/>
              <a:tabLst>
                <a:tab pos="5649516" algn="l"/>
              </a:tabLst>
              <a:defRPr/>
            </a:pP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офилактической помощи женщинам с учетом предстоящего материнства и индивидуального перинатального риска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7724" y="3351067"/>
            <a:ext cx="1474400" cy="1408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206FCE8-5308-75E9-565A-B16300D830DC}"/>
              </a:ext>
            </a:extLst>
          </p:cNvPr>
          <p:cNvSpPr txBox="1">
            <a:spLocks noChangeArrowheads="1"/>
          </p:cNvSpPr>
          <p:nvPr/>
        </p:nvSpPr>
        <p:spPr>
          <a:xfrm>
            <a:off x="-2273694" y="2228871"/>
            <a:ext cx="7701455" cy="653654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algn="ctr" defTabSz="685800" fontAlgn="auto">
              <a:spcBef>
                <a:spcPts val="1350"/>
              </a:spcBef>
              <a:spcAft>
                <a:spcPts val="0"/>
              </a:spcAft>
              <a:defRPr/>
            </a:pPr>
            <a:r>
              <a:rPr kumimoji="0" lang="ru-RU" sz="8100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charset="0"/>
              </a:rPr>
              <a:t>Х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3D3FE54-D86A-22B0-8753-77D3266BE2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5677" y="3305504"/>
            <a:ext cx="2286986" cy="1524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39653"/>
      </p:ext>
    </p:extLst>
  </p:cSld>
  <p:clrMapOvr>
    <a:masterClrMapping/>
  </p:clrMapOvr>
  <p:transition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>
            <a:extLst>
              <a:ext uri="{FF2B5EF4-FFF2-40B4-BE49-F238E27FC236}">
                <a16:creationId xmlns:a16="http://schemas.microsoft.com/office/drawing/2014/main" id="{81C2E279-D367-475F-3471-C84D73061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122" y="665027"/>
            <a:ext cx="7200800" cy="1000125"/>
          </a:xfrm>
        </p:spPr>
        <p:txBody>
          <a:bodyPr/>
          <a:lstStyle/>
          <a:p>
            <a:pPr algn="ctr">
              <a:defRPr/>
            </a:pPr>
            <a:r>
              <a:rPr lang="ru-RU" sz="27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Гормональные методы контрацепции - самые эффективные (чем меньше индекс </a:t>
            </a:r>
            <a:r>
              <a:rPr lang="ru-RU" sz="27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Перля</a:t>
            </a:r>
            <a:r>
              <a:rPr lang="ru-RU" sz="27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– тем лучше!)</a:t>
            </a:r>
          </a:p>
        </p:txBody>
      </p:sp>
      <p:graphicFrame>
        <p:nvGraphicFramePr>
          <p:cNvPr id="9" name="Содержимое 5">
            <a:extLst>
              <a:ext uri="{FF2B5EF4-FFF2-40B4-BE49-F238E27FC236}">
                <a16:creationId xmlns:a16="http://schemas.microsoft.com/office/drawing/2014/main" id="{37CC420C-54A7-60E0-9668-C6EA140176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418651"/>
              </p:ext>
            </p:extLst>
          </p:nvPr>
        </p:nvGraphicFramePr>
        <p:xfrm>
          <a:off x="323529" y="1844824"/>
          <a:ext cx="8496942" cy="467670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464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1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Метод/Индекс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ерля</a:t>
                      </a:r>
                      <a:endParaRPr lang="ru-RU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С учетом погрешностей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ри идеальном применении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Спермициды</a:t>
                      </a:r>
                      <a:endParaRPr lang="ru-RU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3727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рерванный половой акт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резерватив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Внутриматочные контрацептивы (ВМК) без гормонов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8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6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Таблетки с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рогестагеном</a:t>
                      </a:r>
                      <a:endParaRPr lang="ru-RU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6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5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4701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Комбинированные оральные контрацептивы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6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Подкожные 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импланты</a:t>
                      </a:r>
                      <a:endParaRPr lang="ru-RU" sz="1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Хирургическая стерилизация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5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5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3694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ВМК с гормонами (</a:t>
                      </a:r>
                      <a:r>
                        <a:rPr lang="ru-RU" sz="18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левонргестрелом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0,1</a:t>
                      </a:r>
                    </a:p>
                  </a:txBody>
                  <a:tcPr marT="45724" marB="45724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5" name="Picture 5">
            <a:extLst>
              <a:ext uri="{FF2B5EF4-FFF2-40B4-BE49-F238E27FC236}">
                <a16:creationId xmlns:a16="http://schemas.microsoft.com/office/drawing/2014/main" id="{3CC71B33-8E92-CA53-274A-E3A17D6FB9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9922" y="182172"/>
            <a:ext cx="1205364" cy="149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2DA4B7BB-CBD2-4D6F-815A-98690E20D2FE}"/>
              </a:ext>
            </a:extLst>
          </p:cNvPr>
          <p:cNvSpPr txBox="1">
            <a:spLocks noChangeArrowheads="1"/>
          </p:cNvSpPr>
          <p:nvPr/>
        </p:nvSpPr>
        <p:spPr>
          <a:xfrm>
            <a:off x="971600" y="692696"/>
            <a:ext cx="7560840" cy="1008112"/>
          </a:xfrm>
          <a:prstGeom prst="rect">
            <a:avLst/>
          </a:prstGeom>
          <a:solidFill>
            <a:srgbClr val="003300"/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089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177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265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353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9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9B4DCAE9-C38D-4D68-94C7-486E832F433E}"/>
              </a:ext>
            </a:extLst>
          </p:cNvPr>
          <p:cNvSpPr txBox="1">
            <a:spLocks noChangeArrowheads="1"/>
          </p:cNvSpPr>
          <p:nvPr/>
        </p:nvSpPr>
        <p:spPr>
          <a:xfrm>
            <a:off x="683568" y="5805264"/>
            <a:ext cx="7560840" cy="432048"/>
          </a:xfrm>
          <a:prstGeom prst="rect">
            <a:avLst/>
          </a:prstGeom>
          <a:solidFill>
            <a:srgbClr val="003300"/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089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177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265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353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900" b="1" i="0" u="none" strike="noStrike" kern="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62C4A2-2192-F378-7F68-F6CFCA2460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600" y="2132856"/>
            <a:ext cx="5645448" cy="382330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125E203-1645-ECE7-D0A8-853E44FB10FC}"/>
              </a:ext>
            </a:extLst>
          </p:cNvPr>
          <p:cNvSpPr txBox="1"/>
          <p:nvPr/>
        </p:nvSpPr>
        <p:spPr>
          <a:xfrm>
            <a:off x="107504" y="332656"/>
            <a:ext cx="8784976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редний возраст матери при рождении                       ребенка и суммарный коэффициент          рождаемости в РФ, 1962-2021 годы</a:t>
            </a:r>
            <a:endParaRPr kumimoji="0" lang="ru-RU" sz="27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F63FB13-0605-11CA-691F-A6BBF3B96D7B}"/>
              </a:ext>
            </a:extLst>
          </p:cNvPr>
          <p:cNvSpPr txBox="1"/>
          <p:nvPr/>
        </p:nvSpPr>
        <p:spPr>
          <a:xfrm>
            <a:off x="2987824" y="6237312"/>
            <a:ext cx="583264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://www.demoscope.ru/weekly/2022/0957/barom05.php</a:t>
            </a:r>
            <a:endParaRPr kumimoji="0" lang="ru-RU" sz="1100" b="0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F7D31A3B-447C-8AB7-DB31-F61D7520AA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6256" y="3068960"/>
            <a:ext cx="1844824" cy="184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9807222"/>
      </p:ext>
    </p:extLst>
  </p:cSld>
  <p:clrMapOvr>
    <a:masterClrMapping/>
  </p:clrMapOvr>
  <p:transition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:a16="http://schemas.microsoft.com/office/drawing/2014/main" id="{C98CD76B-3DA4-37AB-31CA-9B20BF50A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7" y="504193"/>
            <a:ext cx="6735762" cy="881062"/>
          </a:xfrm>
        </p:spPr>
        <p:txBody>
          <a:bodyPr/>
          <a:lstStyle/>
          <a:p>
            <a:pPr algn="ctr">
              <a:tabLst>
                <a:tab pos="623888" algn="l"/>
              </a:tabLst>
              <a:defRPr/>
            </a:pPr>
            <a:r>
              <a:rPr lang="ru-RU" sz="2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Наиболее распространенные мифы «о гормонах»</a:t>
            </a:r>
          </a:p>
        </p:txBody>
      </p:sp>
      <p:sp>
        <p:nvSpPr>
          <p:cNvPr id="11267" name="Rectangle 4">
            <a:extLst>
              <a:ext uri="{FF2B5EF4-FFF2-40B4-BE49-F238E27FC236}">
                <a16:creationId xmlns:a16="http://schemas.microsoft.com/office/drawing/2014/main" id="{74B68F6B-0867-33F3-5A91-13CC5E59AEC9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467643" y="1853310"/>
            <a:ext cx="8208714" cy="3957638"/>
          </a:xfrm>
        </p:spPr>
        <p:txBody>
          <a:bodyPr/>
          <a:lstStyle/>
          <a:p>
            <a:pPr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Таблетки нельзя принимать                                                           подросткам и нерожавшим»</a:t>
            </a:r>
          </a:p>
          <a:p>
            <a:pPr>
              <a:lnSpc>
                <a:spcPct val="150000"/>
              </a:lnSpc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Женщина в климаксе не беременеет»</a:t>
            </a:r>
          </a:p>
          <a:p>
            <a:pPr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При приеме противозачаточных таблеток                            каждые 3-6 месяцев надо делать перерыв, чтобы организм отдохнул»</a:t>
            </a:r>
          </a:p>
          <a:p>
            <a:pPr>
              <a:lnSpc>
                <a:spcPct val="150000"/>
              </a:lnSpc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Обязательно будет прибавка веса»</a:t>
            </a:r>
          </a:p>
          <a:p>
            <a:pPr>
              <a:lnSpc>
                <a:spcPct val="150000"/>
              </a:lnSpc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Гормоны вызывают рак»</a:t>
            </a:r>
          </a:p>
          <a:p>
            <a:pPr>
              <a:lnSpc>
                <a:spcPct val="150000"/>
              </a:lnSpc>
              <a:spcBef>
                <a:spcPts val="1200"/>
              </a:spcBef>
              <a:buClr>
                <a:srgbClr val="FFFF00"/>
              </a:buClr>
              <a:defRPr/>
            </a:pPr>
            <a:r>
              <a:rPr lang="ru-RU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«Гормоны опасны для молочной железы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F4008F2-D71E-D90E-37A7-238055F8938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6168" y="116632"/>
            <a:ext cx="2607031" cy="20882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2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6" grpId="0"/>
      <p:bldP spid="11267" grpId="0" build="p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180" name="Rectangle 4">
            <a:extLst>
              <a:ext uri="{FF2B5EF4-FFF2-40B4-BE49-F238E27FC236}">
                <a16:creationId xmlns:a16="http://schemas.microsoft.com/office/drawing/2014/main" id="{7268B527-C354-49C7-BFF6-446887A40478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396081" y="1772816"/>
            <a:ext cx="8351837" cy="4537075"/>
          </a:xfrm>
          <a:noFill/>
        </p:spPr>
        <p:txBody>
          <a:bodyPr>
            <a:noAutofit/>
          </a:bodyPr>
          <a:lstStyle/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предупреждают непланируемую беременность и ее осложнения, снижая акушерскую заболеваемость и материнскую смертность</a:t>
            </a:r>
          </a:p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регулируют менструальный цикл, купируют ПМС, уменьшают кровопотерю и боль во время менструации</a:t>
            </a:r>
          </a:p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благоприятно влияют на уровень некоторых женских гормонов</a:t>
            </a:r>
          </a:p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нижают риск развития воспалительных заболеваний                           матки и придатков, анемии, кист и апоплексии яичников, маточных кровотечений</a:t>
            </a:r>
          </a:p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снижают частоту рака эндометрия, яичников,  доброкачественных заболеваний молочной железы </a:t>
            </a:r>
          </a:p>
          <a:p>
            <a:pPr marL="266700" indent="-266700" eaLnBrk="1" hangingPunct="1">
              <a:spcBef>
                <a:spcPts val="1800"/>
              </a:spcBef>
              <a:buClr>
                <a:srgbClr val="FFFF00"/>
              </a:buClr>
              <a:buSzPct val="123000"/>
              <a:buFont typeface="Arial" charset="0"/>
              <a:buChar char="•"/>
              <a:defRPr/>
            </a:pPr>
            <a:r>
              <a:rPr lang="ru-RU" sz="1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pitchFamily="34" charset="0"/>
              </a:rPr>
              <a:t>повышают эффективность подготовки к зачатию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8E9B6B2D-74D5-9291-E10C-09D44C64EA3C}"/>
              </a:ext>
            </a:extLst>
          </p:cNvPr>
          <p:cNvSpPr txBox="1">
            <a:spLocks noChangeArrowheads="1"/>
          </p:cNvSpPr>
          <p:nvPr/>
        </p:nvSpPr>
        <p:spPr>
          <a:xfrm>
            <a:off x="179512" y="242081"/>
            <a:ext cx="6911975" cy="850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marL="514350" marR="0" lvl="0" indent="-5143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Влияние современных гормональных контрацептивов на репродуктивное здоровье</a:t>
            </a:r>
            <a:r>
              <a:rPr kumimoji="1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 </a:t>
            </a: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1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BM</a:t>
            </a: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1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A</a:t>
            </a:r>
            <a:r>
              <a:rPr kumimoji="1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kumimoji="1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B)</a:t>
            </a:r>
            <a:endParaRPr kumimoji="1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4277" name="Picture 10" descr="j0186002">
            <a:extLst>
              <a:ext uri="{FF2B5EF4-FFF2-40B4-BE49-F238E27FC236}">
                <a16:creationId xmlns:a16="http://schemas.microsoft.com/office/drawing/2014/main" id="{99BE5F43-0641-05C1-73A0-49CBA055F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304" y="278128"/>
            <a:ext cx="1150938" cy="133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3C81962C-1080-F647-5F1D-FA7981893FF7}"/>
              </a:ext>
            </a:extLst>
          </p:cNvPr>
          <p:cNvSpPr/>
          <p:nvPr/>
        </p:nvSpPr>
        <p:spPr>
          <a:xfrm>
            <a:off x="404543" y="5805264"/>
            <a:ext cx="6686943" cy="458700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Содержимое 2">
            <a:extLst>
              <a:ext uri="{FF2B5EF4-FFF2-40B4-BE49-F238E27FC236}">
                <a16:creationId xmlns:a16="http://schemas.microsoft.com/office/drawing/2014/main" id="{A392160E-9E0F-A99E-9DCE-4C9A80FAC2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1722" y="1645569"/>
            <a:ext cx="7920037" cy="3325812"/>
          </a:xfrm>
        </p:spPr>
        <p:txBody>
          <a:bodyPr/>
          <a:lstStyle/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донашивания</a:t>
            </a: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беременности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ждевременных родов в 22-32 недели (когда плод рождается недоношенным, в том числе глубоко недоношенным – не может приспособиться к </a:t>
            </a:r>
            <a:r>
              <a:rPr lang="ru-RU" sz="21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неутробному</a:t>
            </a: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существованию)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ждевременного излития околоплодных вод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ждения маловесного новорожденного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ращения плаценты 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ндометриоза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r>
              <a:rPr lang="ru-RU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торного аборта </a:t>
            </a:r>
          </a:p>
          <a:p>
            <a:pPr>
              <a:spcBef>
                <a:spcPts val="1500"/>
              </a:spcBef>
              <a:buClr>
                <a:srgbClr val="FFFF00"/>
              </a:buClr>
              <a:buSzPct val="123000"/>
              <a:defRPr/>
            </a:pPr>
            <a:endParaRPr lang="ru-RU" sz="21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4BB9BAD-E76C-34F9-A866-B9E5DDA697F6}"/>
              </a:ext>
            </a:extLst>
          </p:cNvPr>
          <p:cNvSpPr txBox="1">
            <a:spLocks/>
          </p:cNvSpPr>
          <p:nvPr/>
        </p:nvSpPr>
        <p:spPr bwMode="auto">
          <a:xfrm>
            <a:off x="539750" y="692150"/>
            <a:ext cx="8135938" cy="44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00" b="1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еренесенный аборт увеличивает риск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C2F4E24F-C563-446B-817F-BDB77175020B}"/>
              </a:ext>
            </a:extLst>
          </p:cNvPr>
          <p:cNvSpPr txBox="1">
            <a:spLocks noChangeArrowheads="1"/>
          </p:cNvSpPr>
          <p:nvPr/>
        </p:nvSpPr>
        <p:spPr>
          <a:xfrm>
            <a:off x="234156" y="5963443"/>
            <a:ext cx="8675688" cy="404813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ru-RU" sz="900" b="1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2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ylor et.al. Obstetrics and Gynecology, 1993</a:t>
            </a:r>
            <a:endParaRPr kumimoji="1" lang="ru-RU" sz="900" b="1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2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ndricks, et.al. Journal of OB&amp;GYN Research, 1999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m-CH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thryn M. Curtis et al., Am J Obstet Gynecol 2002</a:t>
            </a:r>
            <a:endParaRPr kumimoji="1" lang="ru-RU" sz="900" b="1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man Reproduction, 2004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1" i="1" u="none" strike="noStrike" kern="1200" cap="none" spc="0" normalizeH="0" baseline="0" noProof="0" dirty="0" err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a</a:t>
            </a:r>
            <a:r>
              <a:rPr kumimoji="1" lang="rm-CH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 et al., 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JOG 2009;116:1425–1442</a:t>
            </a:r>
            <a:endParaRPr kumimoji="1" lang="ru-RU" sz="900" b="1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m-CH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hel Makhlouf</a:t>
            </a:r>
            <a:r>
              <a:rPr kumimoji="1" lang="ru-RU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</a:t>
            </a:r>
            <a:r>
              <a:rPr kumimoji="1" lang="ru-RU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</a:t>
            </a:r>
            <a:r>
              <a:rPr kumimoji="1" lang="ru-RU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1" lang="en-US" sz="900" b="1" i="1" u="none" strike="noStrike" kern="1200" cap="none" spc="0" normalizeH="0" baseline="0" noProof="0" dirty="0" err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st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&amp; </a:t>
            </a:r>
            <a:r>
              <a:rPr kumimoji="1" lang="en-US" sz="900" b="1" i="1" u="none" strike="noStrike" kern="1200" cap="none" spc="0" normalizeH="0" baseline="0" noProof="0" dirty="0" err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yn</a:t>
            </a:r>
            <a:r>
              <a:rPr kumimoji="1" lang="ru-RU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upplement to JANUARY 201</a:t>
            </a:r>
            <a:r>
              <a:rPr kumimoji="1" lang="rm-CH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1" lang="ru-RU" sz="900" b="0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1" lang="en-US" sz="900" b="1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1" lang="en-US" sz="900" b="1" i="1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Рисунок 7" descr="0_50ff6_b06b9daa_S.jpeg">
            <a:extLst>
              <a:ext uri="{FF2B5EF4-FFF2-40B4-BE49-F238E27FC236}">
                <a16:creationId xmlns:a16="http://schemas.microsoft.com/office/drawing/2014/main" id="{610FE19E-3F74-82DB-56A0-B998C38E75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8637" y="4221088"/>
            <a:ext cx="1581150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072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3" grpId="0" build="p"/>
      <p:bldP spid="30723" grpId="1" build="p"/>
      <p:bldP spid="6" grpId="0"/>
      <p:bldP spid="7" grpId="0"/>
      <p:bldP spid="7" grpId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0A733B-1956-44AE-9DB7-CC61E72F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166" y="417587"/>
            <a:ext cx="5781613" cy="745629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rgbClr val="FFFF00"/>
                </a:solidFill>
                <a:latin typeface="Arial" panose="020B0604020202020204" pitchFamily="34" charset="0"/>
                <a:cs typeface="Angsana New" panose="02020603050405020304" pitchFamily="18" charset="-34"/>
              </a:rPr>
              <a:t>Здоровье женщины –                   предиктор здоровья наци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DB1CDA7-DAE7-4FA4-9FEE-81C096EE90C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1760412"/>
            <a:ext cx="5793225" cy="22184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2699B5-CE5D-4D30-847C-C9883722D0F8}"/>
              </a:ext>
            </a:extLst>
          </p:cNvPr>
          <p:cNvSpPr txBox="1"/>
          <p:nvPr/>
        </p:nvSpPr>
        <p:spPr>
          <a:xfrm>
            <a:off x="574904" y="4359880"/>
            <a:ext cx="804006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Качество жизни в современной парадигме может быть рассмотрено через поведение по сохранению здоровья. При этом </a:t>
            </a:r>
            <a:r>
              <a:rPr kumimoji="0" lang="ru-RU" sz="1600" b="1" dirty="0">
                <a:solidFill>
                  <a:prstClr val="white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выводы основываются на модели, которая связывает отношения между поведением по сохранению здоровья и уровнем здоровья, уровнем здоровья и понимаемым качеством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kumimoji="0" lang="ru-RU" sz="1600" b="1" dirty="0">
                <a:solidFill>
                  <a:prstClr val="white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жизни 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(</a:t>
            </a:r>
            <a:r>
              <a:rPr kumimoji="0" lang="ru-RU" sz="1600" b="1" dirty="0" err="1">
                <a:solidFill>
                  <a:prstClr val="white"/>
                </a:solidFill>
                <a:latin typeface="Arial" panose="020B0604020202020204" pitchFamily="34" charset="0"/>
              </a:rPr>
              <a:t>perceived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kumimoji="0" lang="ru-RU" sz="1600" b="1" dirty="0" err="1">
                <a:solidFill>
                  <a:prstClr val="white"/>
                </a:solidFill>
                <a:latin typeface="Arial" panose="020B0604020202020204" pitchFamily="34" charset="0"/>
              </a:rPr>
              <a:t>quality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kumimoji="0" lang="ru-RU" sz="1600" b="1" dirty="0" err="1">
                <a:solidFill>
                  <a:prstClr val="white"/>
                </a:solidFill>
                <a:latin typeface="Arial" panose="020B0604020202020204" pitchFamily="34" charset="0"/>
              </a:rPr>
              <a:t>of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 </a:t>
            </a:r>
            <a:r>
              <a:rPr kumimoji="0" lang="ru-RU" sz="1600" b="1" dirty="0" err="1">
                <a:solidFill>
                  <a:prstClr val="white"/>
                </a:solidFill>
                <a:latin typeface="Arial" panose="020B0604020202020204" pitchFamily="34" charset="0"/>
              </a:rPr>
              <a:t>life</a:t>
            </a:r>
            <a:r>
              <a:rPr kumimoji="0" 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, QOL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85AE5D-2271-4479-AE9A-38795BEA24CC}"/>
              </a:ext>
            </a:extLst>
          </p:cNvPr>
          <p:cNvSpPr txBox="1"/>
          <p:nvPr/>
        </p:nvSpPr>
        <p:spPr>
          <a:xfrm>
            <a:off x="3344479" y="6051401"/>
            <a:ext cx="54006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8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zarova</a:t>
            </a: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B. </a:t>
            </a:r>
            <a:r>
              <a:rPr kumimoji="0" lang="en-US" sz="8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orov’e</a:t>
            </a: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njatogo</a:t>
            </a: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elenija</a:t>
            </a: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oskva :MAKS Press; 2007. 526 p</a:t>
            </a:r>
            <a:endParaRPr kumimoji="0" lang="ru-RU" sz="8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odruff SI, Conway TL. Impact of Health and </a:t>
            </a:r>
            <a:r>
              <a:rPr kumimoji="0" lang="en-US" sz="800" i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tnessRelated</a:t>
            </a:r>
            <a:r>
              <a:rPr kumimoji="0" lang="en-US" sz="8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havior on Quality of Life. Social Indicators Research. 1992;25:391-405. </a:t>
            </a:r>
            <a:endParaRPr kumimoji="0" lang="ru-RU" sz="8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634" name="Picture 2">
            <a:extLst>
              <a:ext uri="{FF2B5EF4-FFF2-40B4-BE49-F238E27FC236}">
                <a16:creationId xmlns:a16="http://schemas.microsoft.com/office/drawing/2014/main" id="{FCF8B4CB-BACB-4EAE-95F3-F70E95333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8167" y="2665471"/>
            <a:ext cx="1646802" cy="123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92FE7E90-FA12-46E2-931E-C1C4D586C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9925" y="403344"/>
            <a:ext cx="1442543" cy="96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47D5F1B-951E-0001-E67B-3C594B371D1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2" y="806599"/>
            <a:ext cx="1430720" cy="95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71740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0A733B-1956-44AE-9DB7-CC61E72F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166" y="674970"/>
            <a:ext cx="5781613" cy="745629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rgbClr val="FFFF00"/>
                </a:solidFill>
                <a:latin typeface="Arial" panose="020B0604020202020204" pitchFamily="34" charset="0"/>
                <a:cs typeface="Angsana New" panose="02020603050405020304" pitchFamily="18" charset="-34"/>
              </a:rPr>
              <a:t>Репродуктивное поведение женщины отражает ее ответственность за здоровье ребенк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2699B5-CE5D-4D30-847C-C9883722D0F8}"/>
              </a:ext>
            </a:extLst>
          </p:cNvPr>
          <p:cNvSpPr txBox="1"/>
          <p:nvPr/>
        </p:nvSpPr>
        <p:spPr>
          <a:xfrm>
            <a:off x="521492" y="2132856"/>
            <a:ext cx="6203209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ачество жизни в современной парадигме может быть рассмотрено через поведение по сохранению здоровья. При этом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выводы основываются на модели, которая связывает отношения между поведением по сохранению здоровья и уровнем здоровья, уровнем здоровья и понимаемым качеством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жизн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rceived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ality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ife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QOL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85AE5D-2271-4479-AE9A-38795BEA24CC}"/>
              </a:ext>
            </a:extLst>
          </p:cNvPr>
          <p:cNvSpPr txBox="1"/>
          <p:nvPr/>
        </p:nvSpPr>
        <p:spPr>
          <a:xfrm>
            <a:off x="3344479" y="6051401"/>
            <a:ext cx="54006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zarova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B.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orov’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anjatogo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selenija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Moskva :MAKS Press; 2007. 526 p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odruff SI, Conway TL. Impact of Health and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tnessRelated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ehavior on Quality of Life. Social Indicators Research. 1992;25:391-405. 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9634" name="Picture 2">
            <a:extLst>
              <a:ext uri="{FF2B5EF4-FFF2-40B4-BE49-F238E27FC236}">
                <a16:creationId xmlns:a16="http://schemas.microsoft.com/office/drawing/2014/main" id="{FCF8B4CB-BACB-4EAE-95F3-F70E95333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8167" y="2665471"/>
            <a:ext cx="1646802" cy="123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92FE7E90-FA12-46E2-931E-C1C4D586C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4779" y="411024"/>
            <a:ext cx="1442543" cy="96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47D5F1B-951E-0001-E67B-3C594B371D1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5165" y="799225"/>
            <a:ext cx="1430720" cy="953813"/>
          </a:xfrm>
          <a:prstGeom prst="rect">
            <a:avLst/>
          </a:prstGeom>
        </p:spPr>
      </p:pic>
      <p:sp>
        <p:nvSpPr>
          <p:cNvPr id="4" name="Стрелка: вниз 3">
            <a:extLst>
              <a:ext uri="{FF2B5EF4-FFF2-40B4-BE49-F238E27FC236}">
                <a16:creationId xmlns:a16="http://schemas.microsoft.com/office/drawing/2014/main" id="{443D549C-5E8C-A98A-A223-FC093DCE682B}"/>
              </a:ext>
            </a:extLst>
          </p:cNvPr>
          <p:cNvSpPr/>
          <p:nvPr/>
        </p:nvSpPr>
        <p:spPr bwMode="auto">
          <a:xfrm>
            <a:off x="3263332" y="4376529"/>
            <a:ext cx="719528" cy="480362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021194A-C1B5-8498-14A5-CD47D454C6EF}"/>
              </a:ext>
            </a:extLst>
          </p:cNvPr>
          <p:cNvSpPr txBox="1">
            <a:spLocks/>
          </p:cNvSpPr>
          <p:nvPr/>
        </p:nvSpPr>
        <p:spPr>
          <a:xfrm>
            <a:off x="243409" y="5069240"/>
            <a:ext cx="8371560" cy="7456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3857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56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kumimoji="0" lang="ru-RU" sz="24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  <a:cs typeface="Angsana New" panose="02020603050405020304" pitchFamily="18" charset="-34"/>
              </a:rPr>
              <a:t>Правильно подобранная контрацепция сохраняет репродуктивное здоровье (грамотные инвестиции)!</a:t>
            </a:r>
          </a:p>
        </p:txBody>
      </p:sp>
    </p:spTree>
    <p:extLst>
      <p:ext uri="{BB962C8B-B14F-4D97-AF65-F5344CB8AC3E}">
        <p14:creationId xmlns:p14="http://schemas.microsoft.com/office/powerpoint/2010/main" val="240922790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Название 4">
            <a:extLst>
              <a:ext uri="{FF2B5EF4-FFF2-40B4-BE49-F238E27FC236}">
                <a16:creationId xmlns:a16="http://schemas.microsoft.com/office/drawing/2014/main" id="{4F5DDE84-9753-4B08-BAEF-5B1EF5DE0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60350"/>
            <a:ext cx="6607175" cy="1484313"/>
          </a:xfrm>
        </p:spPr>
        <p:txBody>
          <a:bodyPr/>
          <a:lstStyle/>
          <a:p>
            <a:pPr marL="514350" indent="-514350" algn="ctr" eaLnBrk="1" hangingPunct="1"/>
            <a:r>
              <a:rPr kumimoji="0"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полнительные возможности</a:t>
            </a:r>
            <a:br>
              <a:rPr kumimoji="0"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altLang="ru-RU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ированных гормональных контрацептивов</a:t>
            </a:r>
          </a:p>
        </p:txBody>
      </p:sp>
      <p:sp>
        <p:nvSpPr>
          <p:cNvPr id="11" name="Rectangle 1027">
            <a:extLst>
              <a:ext uri="{FF2B5EF4-FFF2-40B4-BE49-F238E27FC236}">
                <a16:creationId xmlns:a16="http://schemas.microsoft.com/office/drawing/2014/main" id="{ACFFC216-6729-41BF-B5CA-1409A19785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560" y="1853069"/>
            <a:ext cx="7686786" cy="452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highlight>
                  <a:srgbClr val="800000"/>
                </a:highlight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ПМС </a:t>
            </a:r>
            <a:r>
              <a:rPr kumimoji="1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highlight>
                  <a:srgbClr val="800000"/>
                </a:highlight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[А]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highlight>
                <a:srgbClr val="800000"/>
              </a:highlight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дисменорея</a:t>
            </a:r>
            <a:r>
              <a:rPr kumimoji="1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[А]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обильные менструации</a:t>
            </a: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нерегулярные менструации</a:t>
            </a: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рецидивирующие функциональные кисты яичников</a:t>
            </a: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жирная кожа/акне, гирсутизм</a:t>
            </a: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реабилитация после аборта и воспалительных заболеваний женских половых органов</a:t>
            </a:r>
          </a:p>
          <a:p>
            <a:pPr marL="342900" marR="0" lvl="0" indent="-34290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highlight>
                  <a:srgbClr val="800000"/>
                </a:highlight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профилактика доброкачественных заболеваний молочных желез</a:t>
            </a:r>
          </a:p>
        </p:txBody>
      </p:sp>
      <p:sp>
        <p:nvSpPr>
          <p:cNvPr id="43012" name="Прямоугольник 1">
            <a:extLst>
              <a:ext uri="{FF2B5EF4-FFF2-40B4-BE49-F238E27FC236}">
                <a16:creationId xmlns:a16="http://schemas.microsoft.com/office/drawing/2014/main" id="{46C99E16-8337-4E64-ABE0-BA5CE5C94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7468" y="6166763"/>
            <a:ext cx="594201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дицинские критерии приемлемости для использования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одов контрацепции (ВОЗ, пересмотр 2015 года)</a:t>
            </a:r>
          </a:p>
        </p:txBody>
      </p:sp>
      <p:pic>
        <p:nvPicPr>
          <p:cNvPr id="43013" name="Изображение 2">
            <a:extLst>
              <a:ext uri="{FF2B5EF4-FFF2-40B4-BE49-F238E27FC236}">
                <a16:creationId xmlns:a16="http://schemas.microsoft.com/office/drawing/2014/main" id="{368E5E4A-738F-4D09-A079-9E56E6BE97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7175" y="304006"/>
            <a:ext cx="2333625" cy="28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68885F6-70D0-5ACC-E742-F1BDFA923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8795" y="455813"/>
            <a:ext cx="4152900" cy="587692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F884598-13B3-7D93-2C9D-C9BB0762403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4192" y="853162"/>
            <a:ext cx="2257781" cy="159815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4B874FE-40D7-4569-B217-78E9936CFD8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1676" y="3690407"/>
            <a:ext cx="2916819" cy="1945154"/>
          </a:xfrm>
          <a:prstGeom prst="rect">
            <a:avLst/>
          </a:prstGeom>
        </p:spPr>
      </p:pic>
      <p:sp>
        <p:nvSpPr>
          <p:cNvPr id="8" name="Стрелка: вниз 7">
            <a:extLst>
              <a:ext uri="{FF2B5EF4-FFF2-40B4-BE49-F238E27FC236}">
                <a16:creationId xmlns:a16="http://schemas.microsoft.com/office/drawing/2014/main" id="{3935ED5E-9650-8A7A-D703-844BBC142FA0}"/>
              </a:ext>
            </a:extLst>
          </p:cNvPr>
          <p:cNvSpPr/>
          <p:nvPr/>
        </p:nvSpPr>
        <p:spPr bwMode="auto">
          <a:xfrm>
            <a:off x="6481822" y="2766349"/>
            <a:ext cx="763929" cy="671331"/>
          </a:xfrm>
          <a:prstGeom prst="downArrow">
            <a:avLst/>
          </a:prstGeom>
          <a:solidFill>
            <a:srgbClr val="FFFF00"/>
          </a:solidFill>
          <a:ln w="9525" cap="flat" cmpd="sng" algn="ctr">
            <a:solidFill>
              <a:srgbClr val="FFFF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83081"/>
      </p:ext>
    </p:extLst>
  </p:cSld>
  <p:clrMapOvr>
    <a:masterClrMapping/>
  </p:clrMapOvr>
  <p:transition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508E6EB-026E-4DA6-B0D6-B6885358102C}"/>
              </a:ext>
            </a:extLst>
          </p:cNvPr>
          <p:cNvSpPr/>
          <p:nvPr/>
        </p:nvSpPr>
        <p:spPr>
          <a:xfrm>
            <a:off x="332763" y="2784297"/>
            <a:ext cx="8703733" cy="3654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спондентки сообщили о среднем увеличении собственного веса на 2 кг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увеличении средней недельной физической нагрузки на 30 минут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% женщин заявили, что их рацион питания был хуже, 23% - что он был лучше, чем до пандемии; 40% сообщили, что работают больше, а 16% - что меньше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нщины связывали с пандемией значимое различие по частоте плохого настроения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р &lt; 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охого аппетита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р &lt; 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едания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&lt;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худшения концентрации и внимания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р &lt; 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воги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&lt; 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охого сна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&lt; 0,0001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увства одиночества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р &lt; 0,0001) и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резмерного потребления алкоголя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&lt; 0,0001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кретные стрессовые факторы включали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есс на работе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8%), трудности с доступом к медицинскому обслуживанию (25%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менение финансовой ситуации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9%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удности с домашним обучением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9%) и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ходом за детьми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0%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фликт в семье или с партнером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6%),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мейная болезнь или тяжелая утрата </a:t>
            </a:r>
            <a:r>
              <a: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5%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97EC3AF-4EAB-4247-9BFF-3EE020FD79B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046" y="265839"/>
            <a:ext cx="3759022" cy="72787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9F553D8-BD2B-4485-B778-33FC5221CF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871124"/>
            <a:ext cx="3761515" cy="1663764"/>
          </a:xfrm>
          <a:prstGeom prst="rect">
            <a:avLst/>
          </a:prstGeom>
        </p:spPr>
      </p:pic>
      <p:sp>
        <p:nvSpPr>
          <p:cNvPr id="9" name="Объект 1">
            <a:extLst>
              <a:ext uri="{FF2B5EF4-FFF2-40B4-BE49-F238E27FC236}">
                <a16:creationId xmlns:a16="http://schemas.microsoft.com/office/drawing/2014/main" id="{A4C157CD-3513-4495-9E21-8F6A672D7242}"/>
              </a:ext>
            </a:extLst>
          </p:cNvPr>
          <p:cNvSpPr txBox="1">
            <a:spLocks/>
          </p:cNvSpPr>
          <p:nvPr/>
        </p:nvSpPr>
        <p:spPr>
          <a:xfrm>
            <a:off x="4572000" y="622141"/>
            <a:ext cx="4413956" cy="10039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рошена 1031 женщина             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ний возраст - 36,7 ± 6,6 лет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 сообщили данные записи своих циклов с помощью приложения или дневника, 23% использовали гормональную контрацепцию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505192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1C48BBA-A9C5-4C47-B756-DFDE4C8114D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046" y="265839"/>
            <a:ext cx="3680142" cy="71260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526A123-1690-4E87-9E17-53EF29415F8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52" y="871124"/>
            <a:ext cx="3682492" cy="1628812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508E6EB-026E-4DA6-B0D6-B6885358102C}"/>
              </a:ext>
            </a:extLst>
          </p:cNvPr>
          <p:cNvSpPr/>
          <p:nvPr/>
        </p:nvSpPr>
        <p:spPr>
          <a:xfrm>
            <a:off x="447191" y="2733034"/>
            <a:ext cx="8459743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6% - изменение менструального цикла с начала пандемии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9% - пропуски циклов (в среднем 2) впервые в жизни (р = 0,003), 21% имевших пропуски циклов ранее, сообщили об учащении эпизодов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ыло изменений средней продолжительности цикла (28 дней) или кровотечения (5), но наблюдалас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ее широкая вариабельность продолжительности цикла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= 0,01) и снижение медианы минимума                             на 1 день (р &lt; 0,0001) и максимума (р = 0,009)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% - впервые в жизни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норрагии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= 0,003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- впервые в жизн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сменорея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р &lt;0,0001) 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% - снижение либидо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3% - ухудшение симптомов ПМС</a:t>
            </a:r>
          </a:p>
        </p:txBody>
      </p:sp>
      <p:sp>
        <p:nvSpPr>
          <p:cNvPr id="11" name="Объект 1">
            <a:extLst>
              <a:ext uri="{FF2B5EF4-FFF2-40B4-BE49-F238E27FC236}">
                <a16:creationId xmlns:a16="http://schemas.microsoft.com/office/drawing/2014/main" id="{FFE0FF09-8C18-491D-A1B4-CD10C4D3B736}"/>
              </a:ext>
            </a:extLst>
          </p:cNvPr>
          <p:cNvSpPr txBox="1">
            <a:spLocks/>
          </p:cNvSpPr>
          <p:nvPr/>
        </p:nvSpPr>
        <p:spPr>
          <a:xfrm>
            <a:off x="4572000" y="622141"/>
            <a:ext cx="4413956" cy="10039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рошена 1031 женщина.              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ний возраст - 36,7 ± 6,6 лет 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 сообщили данные записи своих циклов с помощью приложения или дневника, 23% использовали гормональную контрацепцию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438524F-F09D-4A02-8BF7-0045A19F75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5613" y="4933245"/>
            <a:ext cx="2079413" cy="1471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894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Заголовок 1">
            <a:extLst>
              <a:ext uri="{FF2B5EF4-FFF2-40B4-BE49-F238E27FC236}">
                <a16:creationId xmlns:a16="http://schemas.microsoft.com/office/drawing/2014/main" id="{DAA7B981-673F-4098-AA0B-B6B360E939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2900" b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ые/тяжелые симптомы ПМС были достоверно связаны: </a:t>
            </a:r>
            <a:br>
              <a:rPr lang="ru-RU" altLang="ru-RU" sz="2900" b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altLang="ru-RU" sz="2900" b="1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C64D1AF-0113-42CB-8EDA-82ECA798C0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263" y="2279650"/>
            <a:ext cx="5310187" cy="3263900"/>
          </a:xfrm>
        </p:spPr>
        <p:txBody>
          <a:bodyPr/>
          <a:lstStyle/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тсутствием на работе (21,2%)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озданиями (16%)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ранним уходом с работы (21,4%)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нужденными отпусками (14,6%)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низким уровнем психологической устойчивости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адекватным восприятием рабочих обязанностей</a:t>
            </a:r>
          </a:p>
          <a:p>
            <a:pPr marL="273050" indent="-27305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низким контролем работы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1428" name="Прямоугольник 3">
            <a:extLst>
              <a:ext uri="{FF2B5EF4-FFF2-40B4-BE49-F238E27FC236}">
                <a16:creationId xmlns:a16="http://schemas.microsoft.com/office/drawing/2014/main" id="{AC6B2A48-6097-41B9-8548-45905E3B49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6638" y="6249988"/>
            <a:ext cx="7308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. J. Environ. Res. Public Health 2021, 18, 3647.</a:t>
            </a:r>
            <a:r>
              <a:rPr kumimoji="0" lang="ru-RU" altLang="ru-RU" sz="11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ru-RU" sz="11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doi.org/10.3390/ijerph18073647</a:t>
            </a:r>
            <a:endParaRPr kumimoji="0" lang="ru-RU" altLang="ru-RU" sz="11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1429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E88371E-D3B2-4967-AB3F-EC2144336C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0063" y="1690688"/>
            <a:ext cx="2068512" cy="263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1430" name="Рисунок 4">
            <a:extLst>
              <a:ext uri="{FF2B5EF4-FFF2-40B4-BE49-F238E27FC236}">
                <a16:creationId xmlns:a16="http://schemas.microsoft.com/office/drawing/2014/main" id="{30B5FD90-7715-4C86-9230-4E772647A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7150" y="4035425"/>
            <a:ext cx="2481263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8926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5EC69BD-47EA-4BD2-A5F4-6C680D3C5DD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780" y="332656"/>
            <a:ext cx="8532440" cy="179241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89455AE-78AE-4D61-9C70-4B8FF2D28BF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8104" y="1171024"/>
            <a:ext cx="3327164" cy="95404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7D07BBC-9368-4DFB-8F47-9850769713FC}"/>
              </a:ext>
            </a:extLst>
          </p:cNvPr>
          <p:cNvSpPr/>
          <p:nvPr/>
        </p:nvSpPr>
        <p:spPr>
          <a:xfrm>
            <a:off x="305780" y="3456491"/>
            <a:ext cx="8532439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Причины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желание супругов иметь детей, в связи с чем они предохраняются от беременности (контрацепция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возможность иметь детей </a:t>
            </a: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каким-то установленным или неустановленным причинам. При желании иметь детей </a:t>
            </a: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х отсутствие может быть обусловлено бесплодием в браке или </a:t>
            </a:r>
            <a:r>
              <a:rPr kumimoji="1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вынашиванием</a:t>
            </a:r>
            <a:r>
              <a:rPr kumimoji="1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еременности у жены 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19A0558-AD0C-44CD-897D-BA229E6D7A10}"/>
              </a:ext>
            </a:extLst>
          </p:cNvPr>
          <p:cNvSpPr/>
          <p:nvPr/>
        </p:nvSpPr>
        <p:spPr>
          <a:xfrm>
            <a:off x="899592" y="6165304"/>
            <a:ext cx="80458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Малярская</a:t>
            </a:r>
            <a:r>
              <a:rPr kumimoji="1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М.М. </a:t>
            </a:r>
            <a:r>
              <a:rPr kumimoji="1" lang="ru-RU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Социально-медицинские аспекты проблемы бесплодного брака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https://www.med2000.ru/art300/artikl312.htm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29A33D-3580-41EB-B460-ADCC24AECA4D}"/>
              </a:ext>
            </a:extLst>
          </p:cNvPr>
          <p:cNvSpPr/>
          <p:nvPr/>
        </p:nvSpPr>
        <p:spPr>
          <a:xfrm>
            <a:off x="899592" y="2427912"/>
            <a:ext cx="4968552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1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ДЕТНЫЙ БРАК </a:t>
            </a:r>
            <a:r>
              <a:rPr kumimoji="1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 демографическое определение брака,                                                                                        в котором нет детей </a:t>
            </a:r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7A3B6607-9285-4954-982C-28007E7D7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2" y="2401697"/>
            <a:ext cx="2177988" cy="1361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996263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 txBox="1">
            <a:spLocks noChangeArrowheads="1"/>
          </p:cNvSpPr>
          <p:nvPr/>
        </p:nvSpPr>
        <p:spPr>
          <a:xfrm>
            <a:off x="85760" y="375528"/>
            <a:ext cx="7596187" cy="720725"/>
          </a:xfrm>
          <a:prstGeom prst="rect">
            <a:avLst/>
          </a:prstGeom>
          <a:solidFill>
            <a:srgbClr val="003300"/>
          </a:solidFill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ПМС - это болезнь или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 «женский каприз»?</a:t>
            </a:r>
            <a:endParaRPr kumimoji="0" lang="ru-RU" sz="33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72" name="Прямоугольник 5"/>
          <p:cNvSpPr>
            <a:spLocks noChangeArrowheads="1"/>
          </p:cNvSpPr>
          <p:nvPr/>
        </p:nvSpPr>
        <p:spPr bwMode="auto">
          <a:xfrm>
            <a:off x="185984" y="6300025"/>
            <a:ext cx="877203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d RL, Case AM. Premenstrual syndrome and menstrual-related </a:t>
            </a:r>
            <a:r>
              <a:rPr kumimoji="0" lang="en-US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orders.In</a:t>
            </a:r>
            <a:r>
              <a:rPr kumimoji="0" lang="en-US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Clinical reproductive medicine and surgery. Eds. </a:t>
            </a:r>
            <a:r>
              <a:rPr kumimoji="0" lang="en-US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one</a:t>
            </a:r>
            <a:r>
              <a:rPr kumimoji="0" lang="en-US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, Hurd WW. Philadelphia (PA): Mosby Elsevier, 2007; p. 335–51.</a:t>
            </a:r>
            <a:endParaRPr kumimoji="0" lang="ru-RU" altLang="ru-RU" sz="7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атарчук</a:t>
            </a:r>
            <a:r>
              <a:rPr kumimoji="0" lang="ru-RU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Т. Ф., </a:t>
            </a:r>
            <a:r>
              <a:rPr kumimoji="0" lang="ru-RU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енцковская</a:t>
            </a:r>
            <a:r>
              <a:rPr kumimoji="0" lang="ru-RU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. Б., Шевчук Т. В. Предменструальный синдром //Киев: </a:t>
            </a:r>
            <a:r>
              <a:rPr kumimoji="0" lang="ru-RU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повит</a:t>
            </a:r>
            <a:r>
              <a:rPr kumimoji="0" lang="ru-RU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– 2003. – С. 111-146.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жеветинова</a:t>
            </a:r>
            <a:r>
              <a:rPr kumimoji="0" lang="ru-RU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Е.А., </a:t>
            </a:r>
            <a:r>
              <a:rPr kumimoji="0" lang="ru-RU" altLang="ru-RU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лепская</a:t>
            </a:r>
            <a:r>
              <a:rPr kumimoji="0" lang="ru-RU" altLang="ru-RU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.Н. Предменструальный синдром // Гинекология. — 2005. — № 4. — С. 23-26.</a:t>
            </a:r>
          </a:p>
        </p:txBody>
      </p:sp>
      <p:pic>
        <p:nvPicPr>
          <p:cNvPr id="6146" name="Picture 2" descr="https://themindfulbeauty.com/wp-content/uploads/2017/09/1493700851358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7603" y="1634654"/>
            <a:ext cx="2311571" cy="128787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FFFF00"/>
            </a:solidFill>
          </a:ln>
          <a:effectLst/>
        </p:spPr>
      </p:pic>
      <p:pic>
        <p:nvPicPr>
          <p:cNvPr id="6152" name="Picture 8" descr="ÐÐ°ÑÑÐ¸Ð½ÐºÐ¸ Ð¿Ð¾ Ð·Ð°Ð¿ÑÐ¾ÑÑ Ð¿Ð¼Ñ Ð¶ÐµÐ½ÑÐºÐ¸Ð¹ ÐºÐ°Ð¿ÑÐ¸Ð·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71644" y="148130"/>
            <a:ext cx="1192159" cy="11262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A05599"/>
            </a:solidFill>
          </a:ln>
          <a:effectLst/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522952" y="1768438"/>
            <a:ext cx="4179590" cy="954107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МС и циклический болевой синдром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отнимают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 женщин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около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8 лет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жизни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444826" y="2973280"/>
            <a:ext cx="4383379" cy="132397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МС влияет на социальные взаимоотношения, качество жизни                         и трудоспособность, изменяет и ухудшает привычный образ жизни                       и отношения в семье</a:t>
            </a:r>
            <a:endParaRPr kumimoji="0" lang="ru-RU" altLang="ru-RU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425798" y="4559610"/>
            <a:ext cx="4394200" cy="1323439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ПМС страдают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имущественно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женщины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чья работа связана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с высокой умственной нагрузкой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а такж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/>
                <a:ea typeface="+mn-ea"/>
                <a:cs typeface="+mn-cs"/>
              </a:rPr>
              <a:t>живущие в больших городах и в условиях хронического стресса</a:t>
            </a:r>
            <a:endParaRPr kumimoji="0" lang="ru-RU" altLang="ru-RU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148" name="Picture 4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7603" y="3087257"/>
            <a:ext cx="2311571" cy="12979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FFFF00"/>
            </a:solidFill>
          </a:ln>
          <a:effectLst/>
        </p:spPr>
      </p:pic>
      <p:pic>
        <p:nvPicPr>
          <p:cNvPr id="6150" name="Picture 6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7603" y="4572360"/>
            <a:ext cx="2311571" cy="12979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rgbClr val="FFFF00"/>
            </a:solidFill>
          </a:ln>
          <a:effectLst/>
        </p:spPr>
      </p:pic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F5C32B6D-5277-4C5B-A7E0-EBE0580F8747}"/>
              </a:ext>
            </a:extLst>
          </p:cNvPr>
          <p:cNvSpPr/>
          <p:nvPr/>
        </p:nvSpPr>
        <p:spPr>
          <a:xfrm>
            <a:off x="5228108" y="2026275"/>
            <a:ext cx="711201" cy="631198"/>
          </a:xfrm>
          <a:prstGeom prst="rightArrow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Скругленный прямоугольник 13">
            <a:extLst>
              <a:ext uri="{FF2B5EF4-FFF2-40B4-BE49-F238E27FC236}">
                <a16:creationId xmlns:a16="http://schemas.microsoft.com/office/drawing/2014/main" id="{6C68A8DD-5D53-4EE4-9028-5D03B829128A}"/>
              </a:ext>
            </a:extLst>
          </p:cNvPr>
          <p:cNvSpPr/>
          <p:nvPr/>
        </p:nvSpPr>
        <p:spPr>
          <a:xfrm>
            <a:off x="415646" y="1674267"/>
            <a:ext cx="4426391" cy="1142450"/>
          </a:xfrm>
          <a:prstGeom prst="roundRect">
            <a:avLst/>
          </a:prstGeom>
          <a:ln w="28575">
            <a:solidFill>
              <a:srgbClr val="FFFF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3">
            <a:extLst>
              <a:ext uri="{FF2B5EF4-FFF2-40B4-BE49-F238E27FC236}">
                <a16:creationId xmlns:a16="http://schemas.microsoft.com/office/drawing/2014/main" id="{D8C2BD27-1161-42A6-83FE-38537A843D10}"/>
              </a:ext>
            </a:extLst>
          </p:cNvPr>
          <p:cNvSpPr/>
          <p:nvPr/>
        </p:nvSpPr>
        <p:spPr>
          <a:xfrm>
            <a:off x="381463" y="3011081"/>
            <a:ext cx="4438535" cy="1286174"/>
          </a:xfrm>
          <a:prstGeom prst="roundRect">
            <a:avLst/>
          </a:prstGeom>
          <a:ln w="28575">
            <a:solidFill>
              <a:srgbClr val="FFFF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3">
            <a:extLst>
              <a:ext uri="{FF2B5EF4-FFF2-40B4-BE49-F238E27FC236}">
                <a16:creationId xmlns:a16="http://schemas.microsoft.com/office/drawing/2014/main" id="{A518FCA1-E93A-49F2-A093-3B62BE90D511}"/>
              </a:ext>
            </a:extLst>
          </p:cNvPr>
          <p:cNvSpPr/>
          <p:nvPr/>
        </p:nvSpPr>
        <p:spPr>
          <a:xfrm>
            <a:off x="371312" y="4473745"/>
            <a:ext cx="4482870" cy="1471881"/>
          </a:xfrm>
          <a:prstGeom prst="roundRect">
            <a:avLst/>
          </a:prstGeom>
          <a:ln w="28575">
            <a:solidFill>
              <a:srgbClr val="FFFF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Стрелка: вправо 17">
            <a:extLst>
              <a:ext uri="{FF2B5EF4-FFF2-40B4-BE49-F238E27FC236}">
                <a16:creationId xmlns:a16="http://schemas.microsoft.com/office/drawing/2014/main" id="{1909E09C-04B9-4E62-832F-8E65B47E1E5A}"/>
              </a:ext>
            </a:extLst>
          </p:cNvPr>
          <p:cNvSpPr/>
          <p:nvPr/>
        </p:nvSpPr>
        <p:spPr>
          <a:xfrm>
            <a:off x="5221968" y="3395342"/>
            <a:ext cx="711201" cy="631198"/>
          </a:xfrm>
          <a:prstGeom prst="rightArrow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96839C54-F520-4162-B8AE-545C82D9D40C}"/>
              </a:ext>
            </a:extLst>
          </p:cNvPr>
          <p:cNvSpPr/>
          <p:nvPr/>
        </p:nvSpPr>
        <p:spPr>
          <a:xfrm>
            <a:off x="5221967" y="4905731"/>
            <a:ext cx="711201" cy="631198"/>
          </a:xfrm>
          <a:prstGeom prst="rightArrow">
            <a:avLst/>
          </a:prstGeom>
          <a:solidFill>
            <a:srgbClr val="FFFF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1659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E84445-2ADB-48DF-9613-C8B0EF8A6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7944" y="548680"/>
            <a:ext cx="4896544" cy="1008112"/>
          </a:xfrm>
          <a:noFill/>
        </p:spPr>
        <p:txBody>
          <a:bodyPr/>
          <a:lstStyle/>
          <a:p>
            <a:pPr algn="ctr"/>
            <a:r>
              <a:rPr lang="ru-RU" sz="2900" b="1" dirty="0">
                <a:solidFill>
                  <a:srgbClr val="FFFF00"/>
                </a:solidFill>
                <a:latin typeface="Arial" panose="020B0604020202020204" pitchFamily="34" charset="0"/>
                <a:cs typeface="Angsana New" panose="02020603050405020304" pitchFamily="18" charset="-34"/>
              </a:rPr>
              <a:t>Коронавирус - 2022: новый диагноз –</a:t>
            </a:r>
            <a:r>
              <a:rPr lang="ru-RU" sz="2900" b="1" dirty="0">
                <a:solidFill>
                  <a:srgbClr val="FDF19A"/>
                </a:solidFill>
                <a:latin typeface="Arial" panose="020B0604020202020204" pitchFamily="34" charset="0"/>
                <a:cs typeface="Angsana New" panose="02020603050405020304" pitchFamily="18" charset="-34"/>
              </a:rPr>
              <a:t> </a:t>
            </a:r>
            <a:r>
              <a:rPr lang="ru-RU" sz="2900" b="1" dirty="0" err="1">
                <a:solidFill>
                  <a:srgbClr val="FFFFFF"/>
                </a:solidFill>
                <a:highlight>
                  <a:srgbClr val="800000"/>
                </a:highlight>
                <a:latin typeface="Arial" panose="020B0604020202020204" pitchFamily="34" charset="0"/>
                <a:cs typeface="Angsana New" panose="02020603050405020304" pitchFamily="18" charset="-34"/>
              </a:rPr>
              <a:t>постковидный</a:t>
            </a:r>
            <a:r>
              <a:rPr lang="ru-RU" sz="2900" b="1" dirty="0">
                <a:solidFill>
                  <a:srgbClr val="FFFFFF"/>
                </a:solidFill>
                <a:highlight>
                  <a:srgbClr val="800000"/>
                </a:highlight>
                <a:latin typeface="Arial" panose="020B0604020202020204" pitchFamily="34" charset="0"/>
                <a:cs typeface="Angsana New" panose="02020603050405020304" pitchFamily="18" charset="-34"/>
              </a:rPr>
              <a:t> синдром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A727DB0-1AD5-4E5E-AFD1-5F02E37EC93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7784" y="1916832"/>
            <a:ext cx="6005632" cy="1728192"/>
          </a:xfrm>
          <a:prstGeom prst="rect">
            <a:avLst/>
          </a:prstGeom>
        </p:spPr>
      </p:pic>
      <p:pic>
        <p:nvPicPr>
          <p:cNvPr id="9218" name="Picture 2">
            <a:extLst>
              <a:ext uri="{FF2B5EF4-FFF2-40B4-BE49-F238E27FC236}">
                <a16:creationId xmlns:a16="http://schemas.microsoft.com/office/drawing/2014/main" id="{B6878026-A10A-46BB-A733-757A7D808D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2276872"/>
            <a:ext cx="2066925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451896A-DEF5-40C3-99F0-A278A877F84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1640" y="3933056"/>
            <a:ext cx="6480720" cy="215749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F4857C0-6465-444B-ADE9-E6C9AD68B82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188640"/>
            <a:ext cx="3744416" cy="148443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96813E7-BAA4-44F0-BEA4-2DFCC12CFB0B}"/>
              </a:ext>
            </a:extLst>
          </p:cNvPr>
          <p:cNvSpPr txBox="1"/>
          <p:nvPr/>
        </p:nvSpPr>
        <p:spPr>
          <a:xfrm>
            <a:off x="611560" y="6237312"/>
            <a:ext cx="840668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ttps://www.rmj.ru/articles/nevrologiya/Astenicheskie_ikognitivnye_narusheniya_upacientov_perenesshih_COVID-19/</a:t>
            </a:r>
          </a:p>
        </p:txBody>
      </p:sp>
    </p:spTree>
    <p:extLst>
      <p:ext uri="{BB962C8B-B14F-4D97-AF65-F5344CB8AC3E}">
        <p14:creationId xmlns:p14="http://schemas.microsoft.com/office/powerpoint/2010/main" val="262257384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652BB15-F82D-BDC5-80E2-DCE65CC6E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67C0B1-059C-4A25-9D53-D8FB99DB251B}" type="slidenum">
              <a:rPr kumimoji="1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1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149665-E32E-1FA1-88CB-87AE044FC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371" y="369305"/>
            <a:ext cx="4124325" cy="577215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EAFA15F-9A9B-7F00-DA44-DDFD0306F5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16" y="2720049"/>
            <a:ext cx="4003269" cy="337980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143A30F-D579-E6DB-B02D-79770F3812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4515" y="365205"/>
            <a:ext cx="1962150" cy="207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2166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652BB15-F82D-BDC5-80E2-DCE65CC6EA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67C0B1-059C-4A25-9D53-D8FB99DB251B}" type="slidenum">
              <a:rPr kumimoji="1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1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149665-E32E-1FA1-88CB-87AE044FC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221" y="251602"/>
            <a:ext cx="4249778" cy="594772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143A30F-D579-E6DB-B02D-79770F3812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277" y="330481"/>
            <a:ext cx="901778" cy="95430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8B8E94B-BFE0-10AF-BABE-22C2E8C23F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377" y="607490"/>
            <a:ext cx="3857625" cy="545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96645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">
            <a:extLst>
              <a:ext uri="{FF2B5EF4-FFF2-40B4-BE49-F238E27FC236}">
                <a16:creationId xmlns:a16="http://schemas.microsoft.com/office/drawing/2014/main" id="{4D25A4F7-8916-4D6D-B551-02058BC65249}"/>
              </a:ext>
            </a:extLst>
          </p:cNvPr>
          <p:cNvSpPr txBox="1">
            <a:spLocks/>
          </p:cNvSpPr>
          <p:nvPr/>
        </p:nvSpPr>
        <p:spPr bwMode="invGray">
          <a:xfrm>
            <a:off x="441185" y="571757"/>
            <a:ext cx="8625267" cy="10300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Объект 8">
            <a:extLst>
              <a:ext uri="{FF2B5EF4-FFF2-40B4-BE49-F238E27FC236}">
                <a16:creationId xmlns:a16="http://schemas.microsoft.com/office/drawing/2014/main" id="{803BE54C-60BB-47DC-9829-ACFE38050971}"/>
              </a:ext>
            </a:extLst>
          </p:cNvPr>
          <p:cNvSpPr txBox="1">
            <a:spLocks/>
          </p:cNvSpPr>
          <p:nvPr/>
        </p:nvSpPr>
        <p:spPr>
          <a:xfrm>
            <a:off x="410514" y="5673955"/>
            <a:ext cx="4609384" cy="11199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частлива женщина – счастлив и врач!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C6AF242E-A091-481F-BA3E-46CDD431A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3949" y="4264489"/>
            <a:ext cx="2453050" cy="1637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D5279FEB-A86E-4D1A-B5F4-1D0800C2713A}"/>
              </a:ext>
            </a:extLst>
          </p:cNvPr>
          <p:cNvSpPr txBox="1">
            <a:spLocks/>
          </p:cNvSpPr>
          <p:nvPr/>
        </p:nvSpPr>
        <p:spPr bwMode="invGray">
          <a:xfrm>
            <a:off x="202827" y="328679"/>
            <a:ext cx="8625267" cy="10300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cs typeface="Arial"/>
              </a:rPr>
              <a:t>Гормональные контрацептивы с доказанной эффективностью* могут использоваться длительно и обеспечить женщине…</a:t>
            </a:r>
          </a:p>
        </p:txBody>
      </p:sp>
      <p:sp>
        <p:nvSpPr>
          <p:cNvPr id="14" name="Объект 8">
            <a:extLst>
              <a:ext uri="{FF2B5EF4-FFF2-40B4-BE49-F238E27FC236}">
                <a16:creationId xmlns:a16="http://schemas.microsoft.com/office/drawing/2014/main" id="{D917E6E4-AE52-49B9-BADC-A8BF2220CB0C}"/>
              </a:ext>
            </a:extLst>
          </p:cNvPr>
          <p:cNvSpPr txBox="1">
            <a:spLocks/>
          </p:cNvSpPr>
          <p:nvPr/>
        </p:nvSpPr>
        <p:spPr>
          <a:xfrm>
            <a:off x="379718" y="1591587"/>
            <a:ext cx="4609384" cy="244762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менструальный комфорт»</a:t>
            </a: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инимальное влияние на вес</a:t>
            </a: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армонию сексуальных отношений</a:t>
            </a: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ачество жизни </a:t>
            </a: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филактику анемии и ее последствий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8000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8000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ланируемую беременность без анемии и ее рисков</a:t>
            </a:r>
          </a:p>
          <a:p>
            <a:pPr marL="204788" marR="0" lvl="0" indent="-204788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1" dirty="0">
                <a:solidFill>
                  <a:srgbClr val="FFFFFF"/>
                </a:solidFill>
                <a:highlight>
                  <a:srgbClr val="80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предупредить влияние стресса на головной мозг и яичники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highlight>
                <a:srgbClr val="8000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None/>
              <a:tabLst/>
              <a:defRPr/>
            </a:pP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00"/>
              </a:buClr>
              <a:buSzPct val="123000"/>
              <a:buFont typeface="Arial" panose="020B0604020202020204" pitchFamily="34" charset="0"/>
              <a:buChar char="•"/>
              <a:tabLst/>
              <a:defRPr/>
            </a:pP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2">
            <a:extLst>
              <a:ext uri="{FF2B5EF4-FFF2-40B4-BE49-F238E27FC236}">
                <a16:creationId xmlns:a16="http://schemas.microsoft.com/office/drawing/2014/main" id="{D2D94022-E512-5989-F3B8-2C5C3BBE9502}"/>
              </a:ext>
            </a:extLst>
          </p:cNvPr>
          <p:cNvSpPr txBox="1">
            <a:spLocks/>
          </p:cNvSpPr>
          <p:nvPr/>
        </p:nvSpPr>
        <p:spPr bwMode="invGray">
          <a:xfrm>
            <a:off x="4123496" y="5203836"/>
            <a:ext cx="4734876" cy="10300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* КОК, содержащий ЭВ+ДНГ – уровень доказательности - 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6232992-1B9C-1C0F-9368-B7A287D9A5A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674" y="2101095"/>
            <a:ext cx="2249208" cy="145563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1D93F23-48BA-427B-8E53-5B6F00F9E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6083" y="3741078"/>
            <a:ext cx="1968286" cy="1535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D35A39E9-1D3F-4565-A82D-E18902AC4E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53136" y="3512028"/>
            <a:ext cx="1758457" cy="1637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AD634C6-0AE0-E4DF-B61A-13A02655C146}"/>
              </a:ext>
            </a:extLst>
          </p:cNvPr>
          <p:cNvSpPr txBox="1">
            <a:spLocks/>
          </p:cNvSpPr>
          <p:nvPr/>
        </p:nvSpPr>
        <p:spPr bwMode="invGray">
          <a:xfrm>
            <a:off x="4090865" y="5008105"/>
            <a:ext cx="4734876" cy="10300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* ЛНГ-ВМС – уровень доказательности - 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2B284F7-9D86-8908-4708-394FCB0E93F4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8012" y="1896074"/>
            <a:ext cx="1430720" cy="953813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59C973C0-32B4-4214-42F4-FFB03EB5A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2060" y="2830706"/>
            <a:ext cx="1442543" cy="962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62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595B83-44D3-4A05-86D0-295EED7A5F5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71600" y="472391"/>
            <a:ext cx="4307441" cy="3643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</a:pPr>
            <a:r>
              <a:rPr lang="ru-RU" sz="3100" b="1" dirty="0">
                <a:solidFill>
                  <a:srgbClr val="FFFF00"/>
                </a:solidFill>
                <a:cs typeface="Arial" charset="0"/>
              </a:rPr>
              <a:t>Что такое счастье?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F61139A-7DDF-4765-82A1-39F16184A98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29685" y="1225740"/>
            <a:ext cx="4963115" cy="2077641"/>
          </a:xfrm>
        </p:spPr>
        <p:txBody>
          <a:bodyPr/>
          <a:lstStyle/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это субъективно-объективное понятие, чаще основанное на метафорах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люди стремятся к счастью, желают его своим детям, друзьям и близким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65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сложность понимания счастья заключается в его эфемерности и неопределенности понятия</a:t>
            </a:r>
            <a:endParaRPr lang="ru-RU" sz="165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endParaRPr lang="ru-RU" sz="165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В </a:t>
            </a:r>
            <a:r>
              <a:rPr lang="ru-RU" sz="1650" b="1" dirty="0" err="1">
                <a:solidFill>
                  <a:schemeClr val="bg1"/>
                </a:solidFill>
                <a:latin typeface="Arial" panose="020B0604020202020204" pitchFamily="34" charset="0"/>
              </a:rPr>
              <a:t>социоэкономических</a:t>
            </a: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 науках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дефиницию счастья часто используют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в качестве аналога или синонима понятий</a:t>
            </a: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«благо», «благополучие», «субъективное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благополучие», «психологическое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latin typeface="Arial" panose="020B0604020202020204" pitchFamily="34" charset="0"/>
              </a:rPr>
              <a:t>благополучие», «процветание», </a:t>
            </a:r>
          </a:p>
          <a:p>
            <a:pPr marL="0" indent="0" algn="ctr">
              <a:buClr>
                <a:srgbClr val="FFFF00"/>
              </a:buClr>
              <a:buNone/>
            </a:pPr>
            <a:r>
              <a:rPr lang="ru-RU" sz="165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«удовлетворенность жизнью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1A64B0-2EA2-48C3-8E01-CED82C872166}"/>
              </a:ext>
            </a:extLst>
          </p:cNvPr>
          <p:cNvSpPr txBox="1"/>
          <p:nvPr/>
        </p:nvSpPr>
        <p:spPr>
          <a:xfrm>
            <a:off x="529686" y="6018777"/>
            <a:ext cx="861431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Булкина Н.А. О феномене счастья: обзор зарубежных и отечественных исследований // Мир науки. Педагогика и психология, 2020 №5, https://mir-nauki.com/PDF/26PSMN520.pdf (доступ свободный). </a:t>
            </a:r>
            <a:r>
              <a:rPr kumimoji="0" 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Загл</a:t>
            </a:r>
            <a:r>
              <a:rPr kumimoji="0" 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. с экрана. Яз. рус., </a:t>
            </a:r>
            <a:r>
              <a:rPr kumimoji="0" 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англ</a:t>
            </a:r>
            <a:endParaRPr kumimoji="0" lang="ru-RU" sz="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7858F8D4-D25F-4F7D-905A-6DC0AF4B5C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80699" y="623782"/>
            <a:ext cx="3116460" cy="2077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154A112-08C3-469D-842C-FB4F7A84D8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2066" y="3347174"/>
            <a:ext cx="3001023" cy="200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97137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C2B4E1-3662-43A1-AED8-43B382643C4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8320" y="548680"/>
            <a:ext cx="8989695" cy="65663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</a:pPr>
            <a:r>
              <a:rPr lang="ru-RU" sz="2475" b="1" dirty="0">
                <a:solidFill>
                  <a:srgbClr val="FFFF00"/>
                </a:solidFill>
                <a:cs typeface="Arial" charset="0"/>
                <a:sym typeface="Helvetica Neue"/>
              </a:rPr>
              <a:t>Счастье стало важным! Появились блоги «о счастье»…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3345C0-2055-4605-8802-47081115A4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535" y="1853908"/>
            <a:ext cx="8592930" cy="402336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6FCA4AE-FA9B-4AB5-BF9B-08410628622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200" y="1412776"/>
            <a:ext cx="2517182" cy="168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26610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0F6E2DB-A718-49CF-B910-6A2AC8EFA5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400" y="1727747"/>
            <a:ext cx="8240764" cy="4077517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2E0566C-8781-4D42-A967-9E065BF16ED7}"/>
              </a:ext>
            </a:extLst>
          </p:cNvPr>
          <p:cNvSpPr txBox="1">
            <a:spLocks/>
          </p:cNvSpPr>
          <p:nvPr/>
        </p:nvSpPr>
        <p:spPr bwMode="auto">
          <a:xfrm>
            <a:off x="499850" y="727773"/>
            <a:ext cx="7514076" cy="364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lvl="0" indent="0" algn="ctr" defTabSz="91440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  <a:defRPr kumimoji="0" sz="3300" b="1" i="0" u="none" strike="noStrike" cap="none" spc="0" normalizeH="0" baseline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defRPr>
            </a:lvl1pPr>
            <a:lvl2pPr>
              <a:defRPr sz="10000">
                <a:solidFill>
                  <a:schemeClr val="tx2"/>
                </a:solidFill>
                <a:latin typeface="Arial" charset="0"/>
              </a:defRPr>
            </a:lvl2pPr>
            <a:lvl3pPr>
              <a:defRPr sz="10000">
                <a:solidFill>
                  <a:schemeClr val="tx2"/>
                </a:solidFill>
                <a:latin typeface="Arial" charset="0"/>
              </a:defRPr>
            </a:lvl3pPr>
            <a:lvl4pPr>
              <a:defRPr sz="10000">
                <a:solidFill>
                  <a:schemeClr val="tx2"/>
                </a:solidFill>
                <a:latin typeface="Arial" charset="0"/>
              </a:defRPr>
            </a:lvl4pPr>
            <a:lvl5pPr>
              <a:defRPr sz="10000">
                <a:solidFill>
                  <a:schemeClr val="tx2"/>
                </a:solidFill>
                <a:latin typeface="Arial" charset="0"/>
              </a:defRPr>
            </a:lvl5pPr>
            <a:lvl6pPr marL="914400" fontAlgn="base">
              <a:spcBef>
                <a:spcPct val="0"/>
              </a:spcBef>
              <a:spcAft>
                <a:spcPct val="0"/>
              </a:spcAft>
              <a:defRPr sz="10000">
                <a:solidFill>
                  <a:schemeClr val="tx2"/>
                </a:solidFill>
                <a:latin typeface="Calibri" pitchFamily="34" charset="0"/>
              </a:defRPr>
            </a:lvl6pPr>
            <a:lvl7pPr marL="1828800" fontAlgn="base">
              <a:spcBef>
                <a:spcPct val="0"/>
              </a:spcBef>
              <a:spcAft>
                <a:spcPct val="0"/>
              </a:spcAft>
              <a:defRPr sz="10000">
                <a:solidFill>
                  <a:schemeClr val="tx2"/>
                </a:solidFill>
                <a:latin typeface="Calibri" pitchFamily="34" charset="0"/>
              </a:defRPr>
            </a:lvl7pPr>
            <a:lvl8pPr marL="2743200" fontAlgn="base">
              <a:spcBef>
                <a:spcPct val="0"/>
              </a:spcBef>
              <a:spcAft>
                <a:spcPct val="0"/>
              </a:spcAft>
              <a:defRPr sz="10000">
                <a:solidFill>
                  <a:schemeClr val="tx2"/>
                </a:solidFill>
                <a:latin typeface="Calibri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0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Счастье изучают ученые…</a:t>
            </a:r>
          </a:p>
        </p:txBody>
      </p:sp>
    </p:spTree>
    <p:extLst>
      <p:ext uri="{BB962C8B-B14F-4D97-AF65-F5344CB8AC3E}">
        <p14:creationId xmlns:p14="http://schemas.microsoft.com/office/powerpoint/2010/main" val="67811295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082C594-E0A2-4BF0-91D1-66034BDBF083}"/>
              </a:ext>
            </a:extLst>
          </p:cNvPr>
          <p:cNvSpPr/>
          <p:nvPr/>
        </p:nvSpPr>
        <p:spPr>
          <a:xfrm>
            <a:off x="491400" y="2914651"/>
            <a:ext cx="5995836" cy="2254469"/>
          </a:xfrm>
          <a:prstGeom prst="rect">
            <a:avLst/>
          </a:prstGeom>
          <a:solidFill>
            <a:srgbClr val="E1EA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1B924E0-651D-4163-B310-74848A47EE5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183" y="481190"/>
            <a:ext cx="5330626" cy="14508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3161CB8-6E63-444D-8690-EC2A74FE0015}"/>
              </a:ext>
            </a:extLst>
          </p:cNvPr>
          <p:cNvSpPr txBox="1"/>
          <p:nvPr/>
        </p:nvSpPr>
        <p:spPr>
          <a:xfrm>
            <a:off x="491400" y="5996978"/>
            <a:ext cx="8382000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Булкина Н.А. О феномене счастья: обзор зарубежных и отечественных исследований // Мир науки. Педагогика и психология, 2020 №5, https://mir-nauki.com/PDF/26PSMN520.pdf (доступ свободный).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Загл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. с экрана. Яз. рус.,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англ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2" name="AutoShape 2">
            <a:extLst>
              <a:ext uri="{FF2B5EF4-FFF2-40B4-BE49-F238E27FC236}">
                <a16:creationId xmlns:a16="http://schemas.microsoft.com/office/drawing/2014/main" id="{B9837AFD-2725-4468-ADB4-E66415BA34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00" y="33147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87712F2-DC7C-484F-8E18-0084938D2D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7236" y="481190"/>
            <a:ext cx="2170086" cy="145085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AA0058F-D83E-4C91-BB6F-61B24CEEA576}"/>
              </a:ext>
            </a:extLst>
          </p:cNvPr>
          <p:cNvSpPr txBox="1"/>
          <p:nvPr/>
        </p:nvSpPr>
        <p:spPr>
          <a:xfrm>
            <a:off x="685799" y="3127199"/>
            <a:ext cx="56033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Государственные и международные организации разрабатывают различные параметры для измерения счастья населения, например: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международный индекс счастья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(Happy planet index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),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валовое национальное счасть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Gross-national happines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) и другие.</a:t>
            </a:r>
          </a:p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В научном мире интерес к счастью за последние пятьдесят лет только усилился. Возникли понятия «всеобщего счастья»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overall happines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), «процветания»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rosperity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).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Появилось огромное количество исследований, посвященных счастью и его аналогам – различным видам благополучия и удовлетворенностью жизнью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1CEE28F-22BE-DB11-81F3-B5F71ECA3AE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4376" y="3429000"/>
            <a:ext cx="2590807" cy="1522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26413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10FCC9-A5CE-471C-968E-903C71D2B4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443" y="2236916"/>
            <a:ext cx="6256550" cy="295474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DA643C3-6AC8-42D5-B30E-D50C106CE2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16459" y="3974623"/>
            <a:ext cx="2265891" cy="151491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6B951CE-4607-4031-90D0-16911F94C0D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6459" y="2125922"/>
            <a:ext cx="2265891" cy="1514911"/>
          </a:xfrm>
          <a:prstGeom prst="rect">
            <a:avLst/>
          </a:prstGeom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EECD2AE6-2686-4312-9431-19396136B10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01985" y="564708"/>
            <a:ext cx="8280920" cy="98311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eaLnBrk="1" fontAlgn="auto" hangingPunct="1">
              <a:spcBef>
                <a:spcPct val="0"/>
              </a:spcBef>
              <a:spcAft>
                <a:spcPts val="0"/>
              </a:spcAft>
              <a:buClrTx/>
              <a:buSzTx/>
              <a:buNone/>
            </a:pPr>
            <a:r>
              <a:rPr lang="ru-RU" sz="3100" b="1" dirty="0">
                <a:solidFill>
                  <a:srgbClr val="FFFF00"/>
                </a:solidFill>
                <a:ea typeface="+mj-ea"/>
                <a:cs typeface="Arial" charset="0"/>
              </a:rPr>
              <a:t>По-видимому, существует </a:t>
            </a:r>
          </a:p>
          <a:p>
            <a:pPr marL="0" indent="0" algn="ctr" eaLnBrk="1" fontAlgn="auto" hangingPunct="1">
              <a:spcBef>
                <a:spcPct val="0"/>
              </a:spcBef>
              <a:spcAft>
                <a:spcPts val="0"/>
              </a:spcAft>
              <a:buClrTx/>
              <a:buSzTx/>
              <a:buNone/>
            </a:pPr>
            <a:r>
              <a:rPr lang="ru-RU" sz="3100" b="1" dirty="0">
                <a:solidFill>
                  <a:srgbClr val="FFFF00"/>
                </a:solidFill>
                <a:ea typeface="+mj-ea"/>
                <a:cs typeface="Arial" charset="0"/>
              </a:rPr>
              <a:t>и музыка счастья?</a:t>
            </a:r>
          </a:p>
        </p:txBody>
      </p:sp>
    </p:spTree>
    <p:extLst>
      <p:ext uri="{BB962C8B-B14F-4D97-AF65-F5344CB8AC3E}">
        <p14:creationId xmlns:p14="http://schemas.microsoft.com/office/powerpoint/2010/main" val="3083405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E1F8C203-7A9B-45EB-8478-CE60C0F8CD41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088834803"/>
              </p:ext>
            </p:extLst>
          </p:nvPr>
        </p:nvGraphicFramePr>
        <p:xfrm>
          <a:off x="611560" y="2060847"/>
          <a:ext cx="8028892" cy="3836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Заголовок 5">
            <a:extLst>
              <a:ext uri="{FF2B5EF4-FFF2-40B4-BE49-F238E27FC236}">
                <a16:creationId xmlns:a16="http://schemas.microsoft.com/office/drawing/2014/main" id="{87B84869-DB81-4C6F-A090-BBA465E252C5}"/>
              </a:ext>
            </a:extLst>
          </p:cNvPr>
          <p:cNvSpPr txBox="1">
            <a:spLocks/>
          </p:cNvSpPr>
          <p:nvPr/>
        </p:nvSpPr>
        <p:spPr bwMode="auto">
          <a:xfrm>
            <a:off x="323528" y="960831"/>
            <a:ext cx="6604744" cy="67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429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algn="ctr" defTabSz="685800">
              <a:defRPr/>
            </a:pPr>
            <a:r>
              <a:rPr kumimoji="0" lang="ru-RU" altLang="ru-RU" sz="28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ая статистика: заболевания, осложняющие беременность (%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5C2434-4EE7-2212-A71B-4683C40B6EEE}"/>
              </a:ext>
            </a:extLst>
          </p:cNvPr>
          <p:cNvSpPr txBox="1"/>
          <p:nvPr/>
        </p:nvSpPr>
        <p:spPr>
          <a:xfrm>
            <a:off x="4285974" y="6190601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200" i="1" dirty="0">
                <a:solidFill>
                  <a:prstClr val="white"/>
                </a:solidFill>
                <a:latin typeface="Arial"/>
              </a:rPr>
              <a:t>https://rosstat.gov.ru/bgd/regl/b21_34/Main.htm</a:t>
            </a:r>
            <a:endParaRPr kumimoji="0" lang="ru-RU" sz="1200" i="1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BFAC57B-917D-E2F7-94B8-BBDF12D116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9886" y="380040"/>
            <a:ext cx="2026164" cy="135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770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6A684FB-C6DD-46BF-8756-3E9E83F5C10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3127" y="826952"/>
            <a:ext cx="3203662" cy="2370209"/>
          </a:xfrm>
          <a:prstGeom prst="rect">
            <a:avLst/>
          </a:prstGeom>
        </p:spPr>
      </p:pic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5D58F0C-C0C3-4148-A172-EE4F0E46A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5895" y="6050403"/>
            <a:ext cx="4146105" cy="258917"/>
          </a:xfrm>
        </p:spPr>
        <p:txBody>
          <a:bodyPr anchor="t"/>
          <a:lstStyle/>
          <a:p>
            <a:pPr marL="0" marR="0" lvl="0" indent="0" algn="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  <a:sym typeface="Helvetica Neue"/>
              </a:rPr>
              <a:t>https://miridei.com/sucess-ideas/success-secrets/7-sostavlyayuschih-zhenskogo-schastya/</a:t>
            </a:r>
            <a:endParaRPr kumimoji="0" lang="ru-RU" sz="675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  <a:sym typeface="Helvetica Neue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F1FBCC0-440E-4BAA-9F5B-02FD69DB68B1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859545" y="2852936"/>
            <a:ext cx="3712455" cy="2236589"/>
          </a:xfrm>
        </p:spPr>
        <p:txBody>
          <a:bodyPr>
            <a:noAutofit/>
          </a:bodyPr>
          <a:lstStyle/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единение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ообразие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реализация 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ая форма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та</a:t>
            </a:r>
          </a:p>
          <a:p>
            <a:pPr>
              <a:buClr>
                <a:srgbClr val="FFFF00"/>
              </a:buClr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бода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5550AD1-90C4-4D1D-98D8-00EC64E7B40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457" y="548680"/>
            <a:ext cx="3860800" cy="172561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1535A64-3A26-4595-885F-458FDDC02E3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3127" y="3849870"/>
            <a:ext cx="3203662" cy="215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0177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515156-0228-40A9-B443-BCC66E565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332" y="1607880"/>
            <a:ext cx="8353950" cy="994172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</a:rPr>
              <a:t>Наиболее распространенными </a:t>
            </a:r>
            <a:r>
              <a:rPr lang="ru-RU" sz="15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слагаемыми женского счастья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</a:rPr>
              <a:t>, в представлении опрошенных россиянок, </a:t>
            </a:r>
            <a:r>
              <a:rPr lang="ru-RU" sz="15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являются семья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</a:rPr>
              <a:t> (крепкая, дружная, большая) </a:t>
            </a:r>
            <a:r>
              <a:rPr lang="ru-RU" sz="1500" b="1" dirty="0">
                <a:solidFill>
                  <a:schemeClr val="bg1"/>
                </a:solidFill>
                <a:highlight>
                  <a:srgbClr val="800000"/>
                </a:highlight>
                <a:latin typeface="Arial" panose="020B0604020202020204" pitchFamily="34" charset="0"/>
              </a:rPr>
              <a:t>и дет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76D1945-F7B0-4F15-9B72-0348A72CE23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902" y="2880605"/>
            <a:ext cx="5148110" cy="311674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9BE25E4-B8E3-4D73-B3D1-E6972FDCD8C4}"/>
              </a:ext>
            </a:extLst>
          </p:cNvPr>
          <p:cNvSpPr txBox="1"/>
          <p:nvPr/>
        </p:nvSpPr>
        <p:spPr>
          <a:xfrm>
            <a:off x="559007" y="379513"/>
            <a:ext cx="768773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Вопрос для женщин в рамках опроса:                  «А в Вашем представлении из чего складывается женское счастье?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10F476-8BE3-43AC-B825-05C7F022AC8A}"/>
              </a:ext>
            </a:extLst>
          </p:cNvPr>
          <p:cNvSpPr txBox="1"/>
          <p:nvPr/>
        </p:nvSpPr>
        <p:spPr>
          <a:xfrm>
            <a:off x="3193621" y="6275905"/>
            <a:ext cx="5452661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ВЦИОМ. Новости: Материнство и женское благополучие (wciom.ru)</a:t>
            </a:r>
            <a:r>
              <a:rPr kumimoji="0" lang="ru-RU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дата последнего доступа на сайт 15.08.2022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1660F31-042D-8475-73E4-CA3EAA28D7A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9951" y="3653937"/>
            <a:ext cx="2833901" cy="180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95921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515156-0228-40A9-B443-BCC66E565B0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9422" y="717327"/>
            <a:ext cx="8523327" cy="9941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Aft>
                <a:spcPts val="0"/>
              </a:spcAft>
            </a:pPr>
            <a:r>
              <a:rPr lang="ru-RU" sz="2700" b="1" dirty="0">
                <a:solidFill>
                  <a:schemeClr val="bg1"/>
                </a:solidFill>
                <a:highlight>
                  <a:srgbClr val="800000"/>
                </a:highlight>
                <a:cs typeface="Arial" charset="0"/>
                <a:sym typeface="Helvetica Neue"/>
              </a:rPr>
              <a:t>Российские женщины счастливы быть мамами</a:t>
            </a:r>
            <a:r>
              <a:rPr lang="ru-RU" sz="2700" b="1" dirty="0">
                <a:solidFill>
                  <a:srgbClr val="FFFF00"/>
                </a:solidFill>
                <a:cs typeface="Arial" charset="0"/>
                <a:sym typeface="Helvetica Neue"/>
              </a:rPr>
              <a:t>: 92% из них выбрали оценку от 7 до 10 по шкале удовлетворённости материнством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9E9013EA-F515-405B-9265-82A6D761365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144" y="2431343"/>
            <a:ext cx="2580967" cy="25737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C6F9111-2DAF-438A-B847-CD5F87C60BF3}"/>
              </a:ext>
            </a:extLst>
          </p:cNvPr>
          <p:cNvSpPr txBox="1"/>
          <p:nvPr/>
        </p:nvSpPr>
        <p:spPr>
          <a:xfrm>
            <a:off x="383316" y="6309320"/>
            <a:ext cx="5452661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  <a:sym typeface="Helvetica Neue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ВЦИОМ. Новости: Материнство и женское благополучие (wciom.ru)</a:t>
            </a:r>
            <a:r>
              <a:rPr kumimoji="0" lang="ru-RU" sz="600" b="0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  <a:sym typeface="Helvetica Neue"/>
              </a:rPr>
              <a:t> дата последнего доступа на сайт 15.08.2022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AACB30-A601-5292-2E39-A4A0EB8EF1F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889" y="2671861"/>
            <a:ext cx="5178560" cy="20927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081441D-46F0-3660-A9D7-55DCFDBE715C}"/>
              </a:ext>
            </a:extLst>
          </p:cNvPr>
          <p:cNvSpPr txBox="1"/>
          <p:nvPr/>
        </p:nvSpPr>
        <p:spPr>
          <a:xfrm>
            <a:off x="535568" y="5269431"/>
            <a:ext cx="77283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Индексом счастья считается предсказанное  для всей выборки среднее значение целевой переменной, нормированное по шкале от 0 до 100</a:t>
            </a:r>
          </a:p>
        </p:txBody>
      </p:sp>
    </p:spTree>
    <p:extLst>
      <p:ext uri="{BB962C8B-B14F-4D97-AF65-F5344CB8AC3E}">
        <p14:creationId xmlns:p14="http://schemas.microsoft.com/office/powerpoint/2010/main" val="247051475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05E82E8-D483-A5D9-BC77-D87720B60C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620688"/>
            <a:ext cx="7128792" cy="4725648"/>
          </a:xfrm>
          <a:prstGeom prst="rect">
            <a:avLst/>
          </a:prstGeom>
        </p:spPr>
      </p:pic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9DA6AA59-5F4A-2AC7-02C5-EF1EE6C6FD96}"/>
              </a:ext>
            </a:extLst>
          </p:cNvPr>
          <p:cNvSpPr/>
          <p:nvPr/>
        </p:nvSpPr>
        <p:spPr>
          <a:xfrm>
            <a:off x="4355976" y="862812"/>
            <a:ext cx="3024336" cy="1798225"/>
          </a:xfrm>
          <a:prstGeom prst="roundRect">
            <a:avLst/>
          </a:prstGeom>
          <a:noFill/>
          <a:ln w="444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6630F60-4D32-5897-7918-9B15D3FC10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064" y="3429000"/>
            <a:ext cx="3168352" cy="2953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688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45E01C9-9483-6E36-C6A1-D5283EA670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784" y="1916832"/>
            <a:ext cx="8460432" cy="34758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8CFC709-6E9B-253D-FBE1-F4ED6A4E06A0}"/>
              </a:ext>
            </a:extLst>
          </p:cNvPr>
          <p:cNvSpPr txBox="1"/>
          <p:nvPr/>
        </p:nvSpPr>
        <p:spPr>
          <a:xfrm>
            <a:off x="1713384" y="6219744"/>
            <a:ext cx="71105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500" i="1" dirty="0">
                <a:solidFill>
                  <a:schemeClr val="bg1"/>
                </a:solidFill>
                <a:latin typeface="+mn-lt"/>
              </a:rPr>
              <a:t>https://medalvian.ru/zhurnal/kakoj-dolzhna-byt-mama/</a:t>
            </a:r>
            <a:endParaRPr lang="ru-RU" sz="15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817BC-FFB7-1421-C3EB-EFE2C96261A7}"/>
              </a:ext>
            </a:extLst>
          </p:cNvPr>
          <p:cNvSpPr txBox="1"/>
          <p:nvPr/>
        </p:nvSpPr>
        <p:spPr>
          <a:xfrm>
            <a:off x="683568" y="395312"/>
            <a:ext cx="763284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ru-RU" sz="3300" b="1" i="0" dirty="0">
                <a:solidFill>
                  <a:srgbClr val="FFFF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Идеальная мать» </a:t>
            </a:r>
          </a:p>
          <a:p>
            <a:pPr algn="ctr" fontAlgn="base"/>
            <a:r>
              <a:rPr lang="ru-RU" sz="3300" b="1" i="0" dirty="0">
                <a:solidFill>
                  <a:srgbClr val="FFFF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е означает «счастливая мать»*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0E9982-D886-BDCB-3D20-9BCF18AE4B55}"/>
              </a:ext>
            </a:extLst>
          </p:cNvPr>
          <p:cNvSpPr txBox="1"/>
          <p:nvPr/>
        </p:nvSpPr>
        <p:spPr>
          <a:xfrm>
            <a:off x="440668" y="5644637"/>
            <a:ext cx="8118648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135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* об «идеальной матери» рассказывает психолог Виктория Мелихова</a:t>
            </a:r>
          </a:p>
        </p:txBody>
      </p:sp>
    </p:spTree>
    <p:extLst>
      <p:ext uri="{BB962C8B-B14F-4D97-AF65-F5344CB8AC3E}">
        <p14:creationId xmlns:p14="http://schemas.microsoft.com/office/powerpoint/2010/main" val="28440373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F802643-D532-D621-89D7-1BAEFFA125F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997" y="620688"/>
            <a:ext cx="8472003" cy="37541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61D9A14-1C5C-03BC-200C-C6E114EB99D3}"/>
              </a:ext>
            </a:extLst>
          </p:cNvPr>
          <p:cNvSpPr txBox="1"/>
          <p:nvPr/>
        </p:nvSpPr>
        <p:spPr>
          <a:xfrm>
            <a:off x="602432" y="4584383"/>
            <a:ext cx="78488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800" b="1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тдохнувшая мать вместе с молоком передает ребенку                            запас энергии, жизненных сил, любви к жизни.                                Мы можем делиться только тем, что имеем сами!*</a:t>
            </a:r>
            <a:endParaRPr 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E16A15-7722-9D7B-608E-1E0C669B3594}"/>
              </a:ext>
            </a:extLst>
          </p:cNvPr>
          <p:cNvSpPr txBox="1"/>
          <p:nvPr/>
        </p:nvSpPr>
        <p:spPr>
          <a:xfrm>
            <a:off x="1475656" y="6075729"/>
            <a:ext cx="71105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500" i="1" dirty="0">
                <a:solidFill>
                  <a:schemeClr val="bg1"/>
                </a:solidFill>
                <a:latin typeface="+mn-lt"/>
              </a:rPr>
              <a:t>https://medalvian.ru/zhurnal/kakoj-dolzhna-byt-mama/</a:t>
            </a:r>
            <a:endParaRPr lang="ru-RU" sz="1500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76719A-1556-78CD-7775-17680E66EF64}"/>
              </a:ext>
            </a:extLst>
          </p:cNvPr>
          <p:cNvSpPr txBox="1"/>
          <p:nvPr/>
        </p:nvSpPr>
        <p:spPr>
          <a:xfrm>
            <a:off x="467544" y="5775647"/>
            <a:ext cx="8118648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135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* об «идеальной матери» рассказывает психолог Виктория Мелихова</a:t>
            </a:r>
          </a:p>
        </p:txBody>
      </p:sp>
    </p:spTree>
    <p:extLst>
      <p:ext uri="{BB962C8B-B14F-4D97-AF65-F5344CB8AC3E}">
        <p14:creationId xmlns:p14="http://schemas.microsoft.com/office/powerpoint/2010/main" val="288843431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88C0436-E031-48D9-80B4-9372FE9C6F6E}"/>
              </a:ext>
            </a:extLst>
          </p:cNvPr>
          <p:cNvSpPr/>
          <p:nvPr/>
        </p:nvSpPr>
        <p:spPr>
          <a:xfrm>
            <a:off x="755650" y="2492375"/>
            <a:ext cx="7850188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marR="0" lvl="0" indent="-342900" algn="ctr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Будущее - это тщательно  обезвреженное настоящее» </a:t>
            </a:r>
          </a:p>
          <a:p>
            <a:pPr marL="342900" marR="0" lvl="0" indent="-342900" algn="r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ркадий и Борис Стругацкие</a:t>
            </a:r>
          </a:p>
        </p:txBody>
      </p:sp>
      <p:pic>
        <p:nvPicPr>
          <p:cNvPr id="28678" name="Picture 2">
            <a:extLst>
              <a:ext uri="{FF2B5EF4-FFF2-40B4-BE49-F238E27FC236}">
                <a16:creationId xmlns:a16="http://schemas.microsoft.com/office/drawing/2014/main" id="{0C8EFB89-E300-4308-8518-BC01B9361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288" y="476250"/>
            <a:ext cx="1301750" cy="185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86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86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86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>
            <a:extLst>
              <a:ext uri="{FF2B5EF4-FFF2-40B4-BE49-F238E27FC236}">
                <a16:creationId xmlns:a16="http://schemas.microsoft.com/office/drawing/2014/main" id="{0E696513-43B0-4530-A6F9-8ABF8E0C22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9966" y="620712"/>
            <a:ext cx="8374385" cy="6477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9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Готовы ли Вы рисковать своим будущим? Своим счастьем?</a:t>
            </a:r>
          </a:p>
        </p:txBody>
      </p:sp>
      <p:pic>
        <p:nvPicPr>
          <p:cNvPr id="114691" name="Picture 6" descr="160855474">
            <a:extLst>
              <a:ext uri="{FF2B5EF4-FFF2-40B4-BE49-F238E27FC236}">
                <a16:creationId xmlns:a16="http://schemas.microsoft.com/office/drawing/2014/main" id="{77E78756-83BF-44B8-A1A4-875395C09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-1245227">
            <a:off x="1231900" y="3624263"/>
            <a:ext cx="2114550" cy="184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2" name="Picture 11" descr="u113_15676_deti">
            <a:extLst>
              <a:ext uri="{FF2B5EF4-FFF2-40B4-BE49-F238E27FC236}">
                <a16:creationId xmlns:a16="http://schemas.microsoft.com/office/drawing/2014/main" id="{3EA8EB5C-DA0A-4761-A672-6E83316BE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4888" y="1700213"/>
            <a:ext cx="2374900" cy="344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3" name="Picture 12" descr="6517">
            <a:extLst>
              <a:ext uri="{FF2B5EF4-FFF2-40B4-BE49-F238E27FC236}">
                <a16:creationId xmlns:a16="http://schemas.microsoft.com/office/drawing/2014/main" id="{4CE1E450-D796-454B-85E1-94032C3BF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483264">
            <a:off x="5214938" y="3846513"/>
            <a:ext cx="1997075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4" name="Picture 13" descr="i168458249_29112_3[1]">
            <a:extLst>
              <a:ext uri="{FF2B5EF4-FFF2-40B4-BE49-F238E27FC236}">
                <a16:creationId xmlns:a16="http://schemas.microsoft.com/office/drawing/2014/main" id="{17D7D355-0666-4F77-9A50-550C46E927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2950" y="3179763"/>
            <a:ext cx="2016125" cy="202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5" name="Picture 5" descr="iCAQZ5PN3">
            <a:extLst>
              <a:ext uri="{FF2B5EF4-FFF2-40B4-BE49-F238E27FC236}">
                <a16:creationId xmlns:a16="http://schemas.microsoft.com/office/drawing/2014/main" id="{5A5C8A01-FE0A-48BA-BC87-7F77CCA16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113" y="1628775"/>
            <a:ext cx="2232025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посмотри">
            <a:extLst>
              <a:ext uri="{FF2B5EF4-FFF2-40B4-BE49-F238E27FC236}">
                <a16:creationId xmlns:a16="http://schemas.microsoft.com/office/drawing/2014/main" id="{C89139D9-8D32-4C66-86C7-9F7146FEB9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9188" y="1597025"/>
            <a:ext cx="1898650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0EBF6089-FB88-4370-81C1-9EDB92CE77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358" y="5377185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Нужно лишь сделать правильный выбор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acerr\YandexDisk\Изображения\просто.JPG">
            <a:extLst>
              <a:ext uri="{FF2B5EF4-FFF2-40B4-BE49-F238E27FC236}">
                <a16:creationId xmlns:a16="http://schemas.microsoft.com/office/drawing/2014/main" id="{E6A128E4-28AB-4861-BB7B-3C1A379C7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935374"/>
            <a:ext cx="3023590" cy="2339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6">
            <a:extLst>
              <a:ext uri="{FF2B5EF4-FFF2-40B4-BE49-F238E27FC236}">
                <a16:creationId xmlns:a16="http://schemas.microsoft.com/office/drawing/2014/main" id="{800176AF-8AF0-825E-587C-279E17B4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027" y="4365104"/>
            <a:ext cx="7983413" cy="1431161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latin typeface="Arial" charset="0"/>
              </a:rPr>
              <a:t>Сотрудники гинекологического отделения больницы им. В.М. Буянова желают Вам здоровья и счастливого материнства! </a:t>
            </a:r>
            <a:endParaRPr kumimoji="0" lang="ru-RU" sz="2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highlight>
                <a:srgbClr val="800000"/>
              </a:highlight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AAE73FF-2235-CC8B-1D1F-3D7DD6BCB45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027" y="463478"/>
            <a:ext cx="4671045" cy="328336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2472C52-FC39-EABB-1B67-18054423197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024" y="464425"/>
            <a:ext cx="1435804" cy="1590919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6A2BEB-1D1A-6B55-33FF-F30DEFCCF5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801" y="4064949"/>
            <a:ext cx="1820905" cy="2321654"/>
          </a:xfrm>
          <a:prstGeom prst="rect">
            <a:avLst/>
          </a:prstGeom>
        </p:spPr>
      </p:pic>
      <p:sp>
        <p:nvSpPr>
          <p:cNvPr id="134146" name="Заголовок 1">
            <a:extLst>
              <a:ext uri="{FF2B5EF4-FFF2-40B4-BE49-F238E27FC236}">
                <a16:creationId xmlns:a16="http://schemas.microsoft.com/office/drawing/2014/main" id="{E892D653-FFDE-4A86-A158-70128789EC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42158" y="469611"/>
            <a:ext cx="6336741" cy="990600"/>
          </a:xfrm>
        </p:spPr>
        <p:txBody>
          <a:bodyPr/>
          <a:lstStyle/>
          <a:p>
            <a:pPr algn="ctr"/>
            <a:r>
              <a:rPr lang="ru-RU" altLang="ru-RU" sz="2800" b="1" dirty="0">
                <a:solidFill>
                  <a:srgbClr val="FFFF00"/>
                </a:solidFill>
              </a:rPr>
              <a:t>Что определяет особенности</a:t>
            </a:r>
            <a:br>
              <a:rPr lang="ru-RU" altLang="ru-RU" sz="2800" b="1" dirty="0">
                <a:solidFill>
                  <a:srgbClr val="FFFF00"/>
                </a:solidFill>
              </a:rPr>
            </a:br>
            <a:r>
              <a:rPr lang="ru-RU" altLang="ru-RU" sz="2800" b="1" dirty="0">
                <a:solidFill>
                  <a:srgbClr val="FFFF00"/>
                </a:solidFill>
              </a:rPr>
              <a:t>течения беременности сегодня?</a:t>
            </a: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4F791A09-AD0B-4E5B-A050-6C0F12F3D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552" y="2039159"/>
            <a:ext cx="7529381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емия – 35% </a:t>
            </a:r>
          </a:p>
          <a:p>
            <a:pPr marL="361950" indent="-3619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23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олезни и инфекции мочеполовых путей – 16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23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харный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стационный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диабет– 9%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23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kumimoji="1" lang="ru-RU" sz="2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нозные</a:t>
            </a:r>
            <a:r>
              <a:rPr kumimoji="1" lang="ru-RU" sz="2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сложнения – 6,4%</a:t>
            </a:r>
            <a:endParaRPr kumimoji="1" lang="ru-RU" sz="2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FFBCEE88-98EE-4076-8C75-BFBE1E4B9F9A}"/>
              </a:ext>
            </a:extLst>
          </p:cNvPr>
          <p:cNvSpPr/>
          <p:nvPr/>
        </p:nvSpPr>
        <p:spPr>
          <a:xfrm>
            <a:off x="572499" y="1843944"/>
            <a:ext cx="8202168" cy="2321654"/>
          </a:xfrm>
          <a:prstGeom prst="roundRect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2C091E5E-1361-C52D-F12C-3D2F3C36D9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76079" y="5301208"/>
            <a:ext cx="3240360" cy="70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ЭТО ТИПИЧНО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highlight>
                  <a:srgbClr val="800000"/>
                </a:highlight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ДЛЯ ВСЕГО МИРА</a:t>
            </a:r>
          </a:p>
        </p:txBody>
      </p:sp>
      <p:sp>
        <p:nvSpPr>
          <p:cNvPr id="3" name="Стрелка: вниз 2">
            <a:extLst>
              <a:ext uri="{FF2B5EF4-FFF2-40B4-BE49-F238E27FC236}">
                <a16:creationId xmlns:a16="http://schemas.microsoft.com/office/drawing/2014/main" id="{23E93B4D-6774-1146-2D8F-5F9493A0FE1C}"/>
              </a:ext>
            </a:extLst>
          </p:cNvPr>
          <p:cNvSpPr/>
          <p:nvPr/>
        </p:nvSpPr>
        <p:spPr bwMode="auto">
          <a:xfrm rot="10800000">
            <a:off x="3995936" y="4437112"/>
            <a:ext cx="719528" cy="480362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0FCDF082-9AE5-BC98-6FAA-6EACB6ADB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07" y="4757243"/>
            <a:ext cx="2300963" cy="1539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D41292B-EFAE-E31F-D6D3-B9A2A277B7E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1856" y="928825"/>
            <a:ext cx="2155850" cy="143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61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K_6cKFtpIDJWaKTk3D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6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5_Неоновая реклама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2_Поток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_Оформление по умолчанию">
  <a:themeElements>
    <a:clrScheme name="1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5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7_Неоновая реклама">
  <a:themeElements>
    <a:clrScheme name="Неоновая реклама 6">
      <a:dk1>
        <a:srgbClr val="808080"/>
      </a:dk1>
      <a:lt1>
        <a:srgbClr val="F8F8F8"/>
      </a:lt1>
      <a:dk2>
        <a:srgbClr val="000000"/>
      </a:dk2>
      <a:lt2>
        <a:srgbClr val="FFFFFF"/>
      </a:lt2>
      <a:accent1>
        <a:srgbClr val="FF4FC9"/>
      </a:accent1>
      <a:accent2>
        <a:srgbClr val="FF91B6"/>
      </a:accent2>
      <a:accent3>
        <a:srgbClr val="AAAAAA"/>
      </a:accent3>
      <a:accent4>
        <a:srgbClr val="D4D4D4"/>
      </a:accent4>
      <a:accent5>
        <a:srgbClr val="FFB2E1"/>
      </a:accent5>
      <a:accent6>
        <a:srgbClr val="E783A5"/>
      </a:accent6>
      <a:hlink>
        <a:srgbClr val="FF9900"/>
      </a:hlink>
      <a:folHlink>
        <a:srgbClr val="CC9900"/>
      </a:folHlink>
    </a:clrScheme>
    <a:fontScheme name="Другая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Неоновая реклама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_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4_Поток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2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2.xml><?xml version="1.0" encoding="utf-8"?>
<a:theme xmlns:a="http://schemas.openxmlformats.org/drawingml/2006/main" name="2_Неоновая реклама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Другая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35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3_Тема Office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1_Тема Office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7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44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57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36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Природа">
  <a:themeElements>
    <a:clrScheme name="">
      <a:dk1>
        <a:srgbClr val="5B5249"/>
      </a:dk1>
      <a:lt1>
        <a:srgbClr val="FF99CC"/>
      </a:lt1>
      <a:dk2>
        <a:srgbClr val="2A3D7A"/>
      </a:dk2>
      <a:lt2>
        <a:srgbClr val="CEC8BA"/>
      </a:lt2>
      <a:accent1>
        <a:srgbClr val="C9DDF1"/>
      </a:accent1>
      <a:accent2>
        <a:srgbClr val="FAC164"/>
      </a:accent2>
      <a:accent3>
        <a:srgbClr val="FFCAE2"/>
      </a:accent3>
      <a:accent4>
        <a:srgbClr val="4C453D"/>
      </a:accent4>
      <a:accent5>
        <a:srgbClr val="E1EBF7"/>
      </a:accent5>
      <a:accent6>
        <a:srgbClr val="E3AF5A"/>
      </a:accent6>
      <a:hlink>
        <a:srgbClr val="B0AE6A"/>
      </a:hlink>
      <a:folHlink>
        <a:srgbClr val="C3E684"/>
      </a:folHlink>
    </a:clrScheme>
    <a:fontScheme name="Природа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Природа 1">
        <a:dk1>
          <a:srgbClr val="666699"/>
        </a:dk1>
        <a:lt1>
          <a:srgbClr val="FFFFCC"/>
        </a:lt1>
        <a:dk2>
          <a:srgbClr val="687FCA"/>
        </a:dk2>
        <a:lt2>
          <a:srgbClr val="192449"/>
        </a:lt2>
        <a:accent1>
          <a:srgbClr val="C9DDF1"/>
        </a:accent1>
        <a:accent2>
          <a:srgbClr val="FAC164"/>
        </a:accent2>
        <a:accent3>
          <a:srgbClr val="B9C0E1"/>
        </a:accent3>
        <a:accent4>
          <a:srgbClr val="DADAAE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ирода 2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ирода 3">
        <a:dk1>
          <a:srgbClr val="333333"/>
        </a:dk1>
        <a:lt1>
          <a:srgbClr val="FFFFFF"/>
        </a:lt1>
        <a:dk2>
          <a:srgbClr val="000000"/>
        </a:dk2>
        <a:lt2>
          <a:srgbClr val="DDDDD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2A2A2A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ирода 4">
        <a:dk1>
          <a:srgbClr val="8061A5"/>
        </a:dk1>
        <a:lt1>
          <a:srgbClr val="FFFFCC"/>
        </a:lt1>
        <a:dk2>
          <a:srgbClr val="967DB5"/>
        </a:dk2>
        <a:lt2>
          <a:srgbClr val="192449"/>
        </a:lt2>
        <a:accent1>
          <a:srgbClr val="D6C9F1"/>
        </a:accent1>
        <a:accent2>
          <a:srgbClr val="FAC164"/>
        </a:accent2>
        <a:accent3>
          <a:srgbClr val="C9BFD7"/>
        </a:accent3>
        <a:accent4>
          <a:srgbClr val="DADAAE"/>
        </a:accent4>
        <a:accent5>
          <a:srgbClr val="E8E1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ирода 5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993333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PR_BAG_PPT-master_16-9_2017-12-06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32.xml><?xml version="1.0" encoding="utf-8"?>
<a:theme xmlns:a="http://schemas.openxmlformats.org/drawingml/2006/main" name="2_Тема Office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1_Неоновая реклама">
  <a:themeElements>
    <a:clrScheme name="Трек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5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6.xml><?xml version="1.0" encoding="utf-8"?>
<a:theme xmlns:a="http://schemas.openxmlformats.org/drawingml/2006/main" name="3_Benutzerdefiniertes Design">
  <a:themeElements>
    <a:clrScheme name="1_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1_Benutzerdefiniertes Design">
  <a:themeElements>
    <a:clrScheme name="1_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4_Неоновая реклама">
  <a:themeElements>
    <a:clrScheme name="Другая 6">
      <a:dk1>
        <a:srgbClr val="00B0F0"/>
      </a:dk1>
      <a:lt1>
        <a:srgbClr val="F8F8F8"/>
      </a:lt1>
      <a:dk2>
        <a:srgbClr val="FF66CC"/>
      </a:dk2>
      <a:lt2>
        <a:srgbClr val="FFFFFF"/>
      </a:lt2>
      <a:accent1>
        <a:srgbClr val="6699FF"/>
      </a:accent1>
      <a:accent2>
        <a:srgbClr val="9933FF"/>
      </a:accent2>
      <a:accent3>
        <a:srgbClr val="FFB8E2"/>
      </a:accent3>
      <a:accent4>
        <a:srgbClr val="D4D4D4"/>
      </a:accent4>
      <a:accent5>
        <a:srgbClr val="B8CAFF"/>
      </a:accent5>
      <a:accent6>
        <a:srgbClr val="8A2DE7"/>
      </a:accent6>
      <a:hlink>
        <a:srgbClr val="00FFFF"/>
      </a:hlink>
      <a:folHlink>
        <a:srgbClr val="0099CC"/>
      </a:folHlink>
    </a:clrScheme>
    <a:fontScheme name="Другая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1_Bay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4.xml><?xml version="1.0" encoding="utf-8"?>
<a:theme xmlns:a="http://schemas.openxmlformats.org/drawingml/2006/main" name="1_Природа">
  <a:themeElements>
    <a:clrScheme name="">
      <a:dk1>
        <a:srgbClr val="5B5249"/>
      </a:dk1>
      <a:lt1>
        <a:srgbClr val="FF99CC"/>
      </a:lt1>
      <a:dk2>
        <a:srgbClr val="2A3D7A"/>
      </a:dk2>
      <a:lt2>
        <a:srgbClr val="CEC8BA"/>
      </a:lt2>
      <a:accent1>
        <a:srgbClr val="C9DDF1"/>
      </a:accent1>
      <a:accent2>
        <a:srgbClr val="FAC164"/>
      </a:accent2>
      <a:accent3>
        <a:srgbClr val="FFCAE2"/>
      </a:accent3>
      <a:accent4>
        <a:srgbClr val="4C453D"/>
      </a:accent4>
      <a:accent5>
        <a:srgbClr val="E1EBF7"/>
      </a:accent5>
      <a:accent6>
        <a:srgbClr val="E3AF5A"/>
      </a:accent6>
      <a:hlink>
        <a:srgbClr val="B0AE6A"/>
      </a:hlink>
      <a:folHlink>
        <a:srgbClr val="C3E684"/>
      </a:folHlink>
    </a:clrScheme>
    <a:fontScheme name="Природа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Природа 1">
        <a:dk1>
          <a:srgbClr val="666699"/>
        </a:dk1>
        <a:lt1>
          <a:srgbClr val="FFFFCC"/>
        </a:lt1>
        <a:dk2>
          <a:srgbClr val="687FCA"/>
        </a:dk2>
        <a:lt2>
          <a:srgbClr val="192449"/>
        </a:lt2>
        <a:accent1>
          <a:srgbClr val="C9DDF1"/>
        </a:accent1>
        <a:accent2>
          <a:srgbClr val="FAC164"/>
        </a:accent2>
        <a:accent3>
          <a:srgbClr val="B9C0E1"/>
        </a:accent3>
        <a:accent4>
          <a:srgbClr val="DADAAE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ирода 2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ирода 3">
        <a:dk1>
          <a:srgbClr val="333333"/>
        </a:dk1>
        <a:lt1>
          <a:srgbClr val="FFFFFF"/>
        </a:lt1>
        <a:dk2>
          <a:srgbClr val="000000"/>
        </a:dk2>
        <a:lt2>
          <a:srgbClr val="DDDDD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2A2A2A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ирода 4">
        <a:dk1>
          <a:srgbClr val="8061A5"/>
        </a:dk1>
        <a:lt1>
          <a:srgbClr val="FFFFCC"/>
        </a:lt1>
        <a:dk2>
          <a:srgbClr val="967DB5"/>
        </a:dk2>
        <a:lt2>
          <a:srgbClr val="192449"/>
        </a:lt2>
        <a:accent1>
          <a:srgbClr val="D6C9F1"/>
        </a:accent1>
        <a:accent2>
          <a:srgbClr val="FAC164"/>
        </a:accent2>
        <a:accent3>
          <a:srgbClr val="C9BFD7"/>
        </a:accent3>
        <a:accent4>
          <a:srgbClr val="DADAAE"/>
        </a:accent4>
        <a:accent5>
          <a:srgbClr val="E8E1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ирода 5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993333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26_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4_Поток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WH Master">
  <a:themeElements>
    <a:clrScheme name="WH Summit (Updated 2019)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0091DF"/>
      </a:accent5>
      <a:accent6>
        <a:srgbClr val="66B512"/>
      </a:accent6>
      <a:hlink>
        <a:srgbClr val="00BCFF"/>
      </a:hlink>
      <a:folHlink>
        <a:srgbClr val="89D329"/>
      </a:folHlink>
    </a:clrScheme>
    <a:fontScheme name="WH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 Summit PPT-Master 2019_16zu9_v4.potx  -  Schreibgeschützt" id="{FF82E04C-8553-4815-A3FF-7D1C5CB36AF6}" vid="{26DD0CD8-2C4D-49EC-A4FF-F7D415207709}"/>
    </a:ext>
  </a:extLst>
</a:theme>
</file>

<file path=ppt/theme/theme4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7_Поток">
  <a:themeElements>
    <a:clrScheme name="Другая 1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4_Поток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7_Тема Office">
  <a:themeElements>
    <a:clrScheme name="Яркая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0_Неоновая реклама">
  <a:themeElements>
    <a:clrScheme name="Трек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Неоновая реклама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Неоновая реклама">
  <a:themeElements>
    <a:clrScheme name="Другая 6">
      <a:dk1>
        <a:srgbClr val="00B0F0"/>
      </a:dk1>
      <a:lt1>
        <a:srgbClr val="F8F8F8"/>
      </a:lt1>
      <a:dk2>
        <a:srgbClr val="FF66CC"/>
      </a:dk2>
      <a:lt2>
        <a:srgbClr val="FFFFFF"/>
      </a:lt2>
      <a:accent1>
        <a:srgbClr val="6699FF"/>
      </a:accent1>
      <a:accent2>
        <a:srgbClr val="9933FF"/>
      </a:accent2>
      <a:accent3>
        <a:srgbClr val="FFB8E2"/>
      </a:accent3>
      <a:accent4>
        <a:srgbClr val="D4D4D4"/>
      </a:accent4>
      <a:accent5>
        <a:srgbClr val="B8CAFF"/>
      </a:accent5>
      <a:accent6>
        <a:srgbClr val="8A2DE7"/>
      </a:accent6>
      <a:hlink>
        <a:srgbClr val="00FFFF"/>
      </a:hlink>
      <a:folHlink>
        <a:srgbClr val="0099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sm" len="sm"/>
          <a:tailEnd type="none" w="sm" len="sm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Неоновая реклама 1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6699FF"/>
        </a:accent1>
        <a:accent2>
          <a:srgbClr val="9933FF"/>
        </a:accent2>
        <a:accent3>
          <a:srgbClr val="AAAAAA"/>
        </a:accent3>
        <a:accent4>
          <a:srgbClr val="D4D4D4"/>
        </a:accent4>
        <a:accent5>
          <a:srgbClr val="B8CAFF"/>
        </a:accent5>
        <a:accent6>
          <a:srgbClr val="8A2DE7"/>
        </a:accent6>
        <a:hlink>
          <a:srgbClr val="00FFFF"/>
        </a:hlink>
        <a:folHlink>
          <a:srgbClr val="0099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2">
        <a:dk1>
          <a:srgbClr val="000066"/>
        </a:dk1>
        <a:lt1>
          <a:srgbClr val="FFFFFF"/>
        </a:lt1>
        <a:dk2>
          <a:srgbClr val="3333FF"/>
        </a:dk2>
        <a:lt2>
          <a:srgbClr val="3399FF"/>
        </a:lt2>
        <a:accent1>
          <a:srgbClr val="66CCFF"/>
        </a:accent1>
        <a:accent2>
          <a:srgbClr val="FF66FF"/>
        </a:accent2>
        <a:accent3>
          <a:srgbClr val="FFFFFF"/>
        </a:accent3>
        <a:accent4>
          <a:srgbClr val="000056"/>
        </a:accent4>
        <a:accent5>
          <a:srgbClr val="B8E2FF"/>
        </a:accent5>
        <a:accent6>
          <a:srgbClr val="E75CE7"/>
        </a:accent6>
        <a:hlink>
          <a:srgbClr val="CC00CC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69696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C8C8C8"/>
        </a:accent6>
        <a:hlink>
          <a:srgbClr val="33333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Неоновая реклама 4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CC9900"/>
        </a:accent1>
        <a:accent2>
          <a:srgbClr val="996600"/>
        </a:accent2>
        <a:accent3>
          <a:srgbClr val="AAAAAA"/>
        </a:accent3>
        <a:accent4>
          <a:srgbClr val="D4D4D4"/>
        </a:accent4>
        <a:accent5>
          <a:srgbClr val="E2CAAA"/>
        </a:accent5>
        <a:accent6>
          <a:srgbClr val="8A5C00"/>
        </a:accent6>
        <a:hlink>
          <a:srgbClr val="CCCC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5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6600"/>
        </a:accent1>
        <a:accent2>
          <a:srgbClr val="FF41FF"/>
        </a:accent2>
        <a:accent3>
          <a:srgbClr val="AAAAAA"/>
        </a:accent3>
        <a:accent4>
          <a:srgbClr val="D4D4D4"/>
        </a:accent4>
        <a:accent5>
          <a:srgbClr val="FFB8AA"/>
        </a:accent5>
        <a:accent6>
          <a:srgbClr val="E73AE7"/>
        </a:accent6>
        <a:hlink>
          <a:srgbClr val="FF0066"/>
        </a:hlink>
        <a:folHlink>
          <a:srgbClr val="CC00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Неоновая реклама 6">
        <a:dk1>
          <a:srgbClr val="808080"/>
        </a:dk1>
        <a:lt1>
          <a:srgbClr val="F8F8F8"/>
        </a:lt1>
        <a:dk2>
          <a:srgbClr val="000000"/>
        </a:dk2>
        <a:lt2>
          <a:srgbClr val="FFFFFF"/>
        </a:lt2>
        <a:accent1>
          <a:srgbClr val="FF4FC9"/>
        </a:accent1>
        <a:accent2>
          <a:srgbClr val="FF91B6"/>
        </a:accent2>
        <a:accent3>
          <a:srgbClr val="AAAAAA"/>
        </a:accent3>
        <a:accent4>
          <a:srgbClr val="D4D4D4"/>
        </a:accent4>
        <a:accent5>
          <a:srgbClr val="FFB2E1"/>
        </a:accent5>
        <a:accent6>
          <a:srgbClr val="E783A5"/>
        </a:accent6>
        <a:hlink>
          <a:srgbClr val="FF99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0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11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2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3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4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5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6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7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8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19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2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20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21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22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2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4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5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6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7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8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</a:themeOverride>
</file>

<file path=ppt/theme/themeOverride9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2506</TotalTime>
  <Words>5342</Words>
  <Application>Microsoft Office PowerPoint</Application>
  <PresentationFormat>Экран (4:3)</PresentationFormat>
  <Paragraphs>618</Paragraphs>
  <Slides>88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42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88</vt:i4>
      </vt:variant>
    </vt:vector>
  </HeadingPairs>
  <TitlesOfParts>
    <vt:vector size="149" baseType="lpstr">
      <vt:lpstr>arial</vt:lpstr>
      <vt:lpstr>arial</vt:lpstr>
      <vt:lpstr>Calibri</vt:lpstr>
      <vt:lpstr>Calibri Light</vt:lpstr>
      <vt:lpstr>Garamond</vt:lpstr>
      <vt:lpstr>Helvetica</vt:lpstr>
      <vt:lpstr>HelveticaNeueLT Std Med</vt:lpstr>
      <vt:lpstr>Segoe UI</vt:lpstr>
      <vt:lpstr>Symbol</vt:lpstr>
      <vt:lpstr>Tahoma</vt:lpstr>
      <vt:lpstr>Times New Roman</vt:lpstr>
      <vt:lpstr>Trebuchet MS</vt:lpstr>
      <vt:lpstr>Verdana</vt:lpstr>
      <vt:lpstr>Wingdings</vt:lpstr>
      <vt:lpstr>Wingdings 2</vt:lpstr>
      <vt:lpstr>6_Поток</vt:lpstr>
      <vt:lpstr>2_Неоновая реклама</vt:lpstr>
      <vt:lpstr>Природа</vt:lpstr>
      <vt:lpstr>1_Природа</vt:lpstr>
      <vt:lpstr>17_Поток</vt:lpstr>
      <vt:lpstr>17_Тема Office</vt:lpstr>
      <vt:lpstr>10_Неоновая реклама</vt:lpstr>
      <vt:lpstr>6_Неоновая реклама</vt:lpstr>
      <vt:lpstr>Неоновая реклама</vt:lpstr>
      <vt:lpstr>25_Неоновая реклама</vt:lpstr>
      <vt:lpstr>12_Поток</vt:lpstr>
      <vt:lpstr>8_Тема Office</vt:lpstr>
      <vt:lpstr>3_Оформление по умолчанию</vt:lpstr>
      <vt:lpstr>25_Поток</vt:lpstr>
      <vt:lpstr>17_Неоновая реклама</vt:lpstr>
      <vt:lpstr>3_Неоновая реклама</vt:lpstr>
      <vt:lpstr>1_Бумажная</vt:lpstr>
      <vt:lpstr>24_Поток</vt:lpstr>
      <vt:lpstr>12_NN_Neutral_16-9</vt:lpstr>
      <vt:lpstr>35_Поток</vt:lpstr>
      <vt:lpstr>Бумажная</vt:lpstr>
      <vt:lpstr>3_Office Theme</vt:lpstr>
      <vt:lpstr>3_Тема Office</vt:lpstr>
      <vt:lpstr>12_Тема Office</vt:lpstr>
      <vt:lpstr>1_Тема Office</vt:lpstr>
      <vt:lpstr>7_Поток</vt:lpstr>
      <vt:lpstr>44_Поток</vt:lpstr>
      <vt:lpstr>57_Поток</vt:lpstr>
      <vt:lpstr>36_Поток</vt:lpstr>
      <vt:lpstr>Тема Office</vt:lpstr>
      <vt:lpstr>PR_BAG_PPT-master_16-9_2017-12-06</vt:lpstr>
      <vt:lpstr>2_Тема Office</vt:lpstr>
      <vt:lpstr>1_Неоновая реклама</vt:lpstr>
      <vt:lpstr>4_Тема Office</vt:lpstr>
      <vt:lpstr>5_Тема Office</vt:lpstr>
      <vt:lpstr>3_Benutzerdefiniertes Design</vt:lpstr>
      <vt:lpstr>1_Benutzerdefiniertes Design</vt:lpstr>
      <vt:lpstr>4_Неоновая реклама</vt:lpstr>
      <vt:lpstr>1_Bayer_16-9</vt:lpstr>
      <vt:lpstr>26_Поток</vt:lpstr>
      <vt:lpstr>4_Поток</vt:lpstr>
      <vt:lpstr>WH Master</vt:lpstr>
      <vt:lpstr>Слайд think-cell</vt:lpstr>
      <vt:lpstr>think-cell Slide</vt:lpstr>
      <vt:lpstr>Clip</vt:lpstr>
      <vt:lpstr>CorelDRAW</vt:lpstr>
      <vt:lpstr>  Ожирение, стресс и анемия у женщин.  Реалии XXI века – «против» деторождения.  На чьей Вы стороне?</vt:lpstr>
      <vt:lpstr>Презентация PowerPoint</vt:lpstr>
      <vt:lpstr>… поэтому мама должна быть здоровой!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то определяет особенности течения беременности сегодня?</vt:lpstr>
      <vt:lpstr>Что определяет особенности течения беременности сегодня?</vt:lpstr>
      <vt:lpstr>Презентация PowerPoint</vt:lpstr>
      <vt:lpstr>Презентация PowerPoint</vt:lpstr>
      <vt:lpstr>Что более всего может повлиять                 на состояние здоровья человека?</vt:lpstr>
      <vt:lpstr>Презентация PowerPoint</vt:lpstr>
      <vt:lpstr>Расстройства питания  создают проблемы для зачатия!</vt:lpstr>
      <vt:lpstr>Что нужно получать с пищей?                         </vt:lpstr>
      <vt:lpstr>Какие продукты это содержат?</vt:lpstr>
      <vt:lpstr>Презентация PowerPoint</vt:lpstr>
      <vt:lpstr>Нутритивный дефицит:  в фокусе                         внимания-профилактика</vt:lpstr>
      <vt:lpstr>Знаете ли вы свой вес? Оценивают индекс массы тела (ИМТ)</vt:lpstr>
      <vt:lpstr>Как рассчитать ИМТ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жирение влечет за собой                               многочисленные заболевания                                 и осложнения, в том числе у беременных</vt:lpstr>
      <vt:lpstr>Презентация PowerPoint</vt:lpstr>
      <vt:lpstr>Презентация PowerPoint</vt:lpstr>
      <vt:lpstr>Риски ожирения определяют генетика, микробы кишечника (и не только!)                  и хроническое воспаление</vt:lpstr>
      <vt:lpstr>Кишечная микробиота и ожирение</vt:lpstr>
      <vt:lpstr>Инсулинорезистентность – сбой эндокринной регуляции</vt:lpstr>
      <vt:lpstr>Презентация PowerPoint</vt:lpstr>
      <vt:lpstr>Диагностические критерии метаболического синдрома                          у женщин </vt:lpstr>
      <vt:lpstr>Ожирение и женское здоровь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роприятия по снижению массы тела в преконцепционный период</vt:lpstr>
      <vt:lpstr>Нутрицевтики и их комбинации, доказательно эффективные для снижения веса и коррекции инсулинорезистентности</vt:lpstr>
      <vt:lpstr>Презентация PowerPoint</vt:lpstr>
      <vt:lpstr>Что такое физическая активность?</vt:lpstr>
      <vt:lpstr>Минимальный уровень физической активности </vt:lpstr>
      <vt:lpstr>Что такое 150 ккал </vt:lpstr>
      <vt:lpstr>Гормональный ответ на упражнения </vt:lpstr>
      <vt:lpstr>Физические упражнения могут снизить:</vt:lpstr>
      <vt:lpstr>Образ жизни и снижение рисков для здоровья: научные данные </vt:lpstr>
      <vt:lpstr>Таблица норм Егорова- Левицкого: взаимосвязь между весом и возрастом (!) </vt:lpstr>
      <vt:lpstr>Презентация PowerPoint</vt:lpstr>
      <vt:lpstr>Важно обследоваться               у врача до зачатия!</vt:lpstr>
      <vt:lpstr> А когда Вы в последний раз                 посещали гинеколога?</vt:lpstr>
      <vt:lpstr> А когда Вы в последний раз                  посещали гинеколога?</vt:lpstr>
      <vt:lpstr>Презентация PowerPoint</vt:lpstr>
      <vt:lpstr>Обильные менструации – «проторенный путь» к дефициту железа и анемии</vt:lpstr>
      <vt:lpstr>Женщинам, страдающим анемией, нежелательно и даже опасно вступать в беременность! </vt:lpstr>
      <vt:lpstr>Презентация PowerPoint</vt:lpstr>
      <vt:lpstr>Гормональные методы контрацепции - самые эффективные (чем меньше индекс Перля – тем лучше!)</vt:lpstr>
      <vt:lpstr>Наиболее распространенные мифы «о гормонах»</vt:lpstr>
      <vt:lpstr>Презентация PowerPoint</vt:lpstr>
      <vt:lpstr>Презентация PowerPoint</vt:lpstr>
      <vt:lpstr>Здоровье женщины –                   предиктор здоровья нации</vt:lpstr>
      <vt:lpstr>Репродуктивное поведение женщины отражает ее ответственность за здоровье ребенка</vt:lpstr>
      <vt:lpstr> Дополнительные возможности комбинированных гормональных контрацептивов</vt:lpstr>
      <vt:lpstr>Презентация PowerPoint</vt:lpstr>
      <vt:lpstr>Презентация PowerPoint</vt:lpstr>
      <vt:lpstr>Презентация PowerPoint</vt:lpstr>
      <vt:lpstr>Умеренные/тяжелые симптомы ПМС были достоверно связаны:  </vt:lpstr>
      <vt:lpstr>Презентация PowerPoint</vt:lpstr>
      <vt:lpstr>Коронавирус - 2022: новый диагноз – постковидный синдром</vt:lpstr>
      <vt:lpstr>Презентация PowerPoint</vt:lpstr>
      <vt:lpstr>Презентация PowerPoint</vt:lpstr>
      <vt:lpstr>Презентация PowerPoint</vt:lpstr>
      <vt:lpstr>Что такое счастье? </vt:lpstr>
      <vt:lpstr>Счастье стало важным! Появились блоги «о счастье»…</vt:lpstr>
      <vt:lpstr>Презентация PowerPoint</vt:lpstr>
      <vt:lpstr>Презентация PowerPoint</vt:lpstr>
      <vt:lpstr>Презентация PowerPoint</vt:lpstr>
      <vt:lpstr>Презентация PowerPoint</vt:lpstr>
      <vt:lpstr>Наиболее распространенными слагаемыми женского счастья, в представлении опрошенных россиянок, являются семья (крепкая, дружная, большая) и дети</vt:lpstr>
      <vt:lpstr>Российские женщины счастливы быть мамами: 92% из них выбрали оценку от 7 до 10 по шкале удовлетворённости материнством</vt:lpstr>
      <vt:lpstr>Презентация PowerPoint</vt:lpstr>
      <vt:lpstr>Презентация PowerPoint</vt:lpstr>
      <vt:lpstr>Презентация PowerPoint</vt:lpstr>
      <vt:lpstr>Презентация PowerPoint</vt:lpstr>
      <vt:lpstr>Готовы ли Вы рисковать своим будущим? Своим счастьем?</vt:lpstr>
      <vt:lpstr>Презентация PowerPoint</vt:lpstr>
    </vt:vector>
  </TitlesOfParts>
  <Company>Пользователь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инекологические аспекты применения грандаксина</dc:title>
  <dc:creator>Марина</dc:creator>
  <cp:lastModifiedBy>Марина Хамошина</cp:lastModifiedBy>
  <cp:revision>1072</cp:revision>
  <dcterms:created xsi:type="dcterms:W3CDTF">2003-01-08T12:01:10Z</dcterms:created>
  <dcterms:modified xsi:type="dcterms:W3CDTF">2023-11-17T05:46:00Z</dcterms:modified>
</cp:coreProperties>
</file>